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84" r:id="rId1"/>
    <p:sldMasterId id="2147483932" r:id="rId2"/>
  </p:sldMasterIdLst>
  <p:notesMasterIdLst>
    <p:notesMasterId r:id="rId9"/>
  </p:notesMasterIdLst>
  <p:handoutMasterIdLst>
    <p:handoutMasterId r:id="rId10"/>
  </p:handoutMasterIdLst>
  <p:sldIdLst>
    <p:sldId id="374" r:id="rId3"/>
    <p:sldId id="375" r:id="rId4"/>
    <p:sldId id="376" r:id="rId5"/>
    <p:sldId id="377" r:id="rId6"/>
    <p:sldId id="378" r:id="rId7"/>
    <p:sldId id="382" r:id="rId8"/>
  </p:sldIdLst>
  <p:sldSz cx="7559675" cy="1069181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B9BE"/>
    <a:srgbClr val="299AB4"/>
    <a:srgbClr val="E8068C"/>
    <a:srgbClr val="702892"/>
    <a:srgbClr val="3171A7"/>
    <a:srgbClr val="2E7EAB"/>
    <a:srgbClr val="E63275"/>
    <a:srgbClr val="3C3795"/>
    <a:srgbClr val="10153D"/>
    <a:srgbClr val="22BD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857"/>
    <p:restoredTop sz="94663"/>
  </p:normalViewPr>
  <p:slideViewPr>
    <p:cSldViewPr snapToGrid="0" snapToObjects="1">
      <p:cViewPr varScale="1">
        <p:scale>
          <a:sx n="64" d="100"/>
          <a:sy n="64" d="100"/>
        </p:scale>
        <p:origin x="4908" y="66"/>
      </p:cViewPr>
      <p:guideLst/>
    </p:cSldViewPr>
  </p:slideViewPr>
  <p:notesTextViewPr>
    <p:cViewPr>
      <p:scale>
        <a:sx n="1" d="1"/>
        <a:sy n="1" d="1"/>
      </p:scale>
      <p:origin x="0" y="0"/>
    </p:cViewPr>
  </p:notesTextViewPr>
  <p:sorterViewPr>
    <p:cViewPr>
      <p:scale>
        <a:sx n="50" d="100"/>
        <a:sy n="50" d="100"/>
      </p:scale>
      <p:origin x="0" y="0"/>
    </p:cViewPr>
  </p:sorterViewPr>
  <p:notesViewPr>
    <p:cSldViewPr snapToGrid="0" snapToObjects="1">
      <p:cViewPr varScale="1">
        <p:scale>
          <a:sx n="64" d="100"/>
          <a:sy n="64" d="100"/>
        </p:scale>
        <p:origin x="2832" y="6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FFF78E-3B04-FE4F-85E4-FB87D6B9A4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3908042-54F6-9949-B2D5-C733231D0E3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5550E7B-E2E1-1744-BAC5-2450DC2C9399}" type="datetimeFigureOut">
              <a:rPr lang="en-US" smtClean="0"/>
              <a:t>8/26/2025</a:t>
            </a:fld>
            <a:endParaRPr lang="en-US"/>
          </a:p>
        </p:txBody>
      </p:sp>
      <p:sp>
        <p:nvSpPr>
          <p:cNvPr id="4" name="Footer Placeholder 3">
            <a:extLst>
              <a:ext uri="{FF2B5EF4-FFF2-40B4-BE49-F238E27FC236}">
                <a16:creationId xmlns:a16="http://schemas.microsoft.com/office/drawing/2014/main" id="{98743CD1-246B-1B4E-B06F-70FF7555959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B7CFDFA-E6F2-274F-847F-9E381451836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1FD034A-BE7D-944A-B2C4-153631F39F58}" type="slidenum">
              <a:rPr lang="en-US" smtClean="0"/>
              <a:t>‹Nr.›</a:t>
            </a:fld>
            <a:endParaRPr lang="en-US"/>
          </a:p>
        </p:txBody>
      </p:sp>
    </p:spTree>
    <p:extLst>
      <p:ext uri="{BB962C8B-B14F-4D97-AF65-F5344CB8AC3E}">
        <p14:creationId xmlns:p14="http://schemas.microsoft.com/office/powerpoint/2010/main" val="324083537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F38278-3754-D043-970B-705C24BA7B0D}" type="datetimeFigureOut">
              <a:rPr lang="en-US" smtClean="0"/>
              <a:t>8/26/2025</a:t>
            </a:fld>
            <a:endParaRPr lang="en-US"/>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Klicken Sie hier, um die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33B2F-6662-2B4E-A57B-B009C830B425}" type="slidenum">
              <a:rPr lang="en-US" smtClean="0"/>
              <a:t>‹Nr.›</a:t>
            </a:fld>
            <a:endParaRPr lang="en-US"/>
          </a:p>
        </p:txBody>
      </p:sp>
    </p:spTree>
    <p:extLst>
      <p:ext uri="{BB962C8B-B14F-4D97-AF65-F5344CB8AC3E}">
        <p14:creationId xmlns:p14="http://schemas.microsoft.com/office/powerpoint/2010/main" val="33049598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hyperlink" Target="https://creativecommons.org/licenses/by/4.0/?ref=chooser-v1"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creativecommons.org/licenses/by/4.0/?ref=chooser-v1" TargetMode="External"/><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C69D885B-6E97-79DF-C835-40553C2845E3}"/>
              </a:ext>
            </a:extLst>
          </p:cNvPr>
          <p:cNvSpPr/>
          <p:nvPr userDrawn="1"/>
        </p:nvSpPr>
        <p:spPr>
          <a:xfrm>
            <a:off x="3428764" y="0"/>
            <a:ext cx="3786322" cy="3486829"/>
          </a:xfrm>
          <a:custGeom>
            <a:avLst/>
            <a:gdLst>
              <a:gd name="connsiteX0" fmla="*/ 6837539 w 6837538"/>
              <a:gd name="connsiteY0" fmla="*/ 747378 h 7584050"/>
              <a:gd name="connsiteX1" fmla="*/ 6837539 w 6837538"/>
              <a:gd name="connsiteY1" fmla="*/ 7584051 h 7584050"/>
              <a:gd name="connsiteX2" fmla="*/ 1567906 w 6837538"/>
              <a:gd name="connsiteY2" fmla="*/ 7584051 h 7584050"/>
              <a:gd name="connsiteX3" fmla="*/ 0 w 6837538"/>
              <a:gd name="connsiteY3" fmla="*/ 6015782 h 7584050"/>
              <a:gd name="connsiteX4" fmla="*/ 0 w 6837538"/>
              <a:gd name="connsiteY4" fmla="*/ 0 h 7584050"/>
              <a:gd name="connsiteX5" fmla="*/ 6090334 w 6837538"/>
              <a:gd name="connsiteY5" fmla="*/ 0 h 7584050"/>
              <a:gd name="connsiteX6" fmla="*/ 6837539 w 6837538"/>
              <a:gd name="connsiteY6" fmla="*/ 747378 h 758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7538" h="7584050">
                <a:moveTo>
                  <a:pt x="6837539" y="747378"/>
                </a:moveTo>
                <a:lnTo>
                  <a:pt x="6837539" y="7584051"/>
                </a:lnTo>
                <a:lnTo>
                  <a:pt x="1567906" y="7584051"/>
                </a:lnTo>
                <a:cubicBezTo>
                  <a:pt x="703108" y="7584051"/>
                  <a:pt x="0" y="6880780"/>
                  <a:pt x="0" y="6015782"/>
                </a:cubicBezTo>
                <a:lnTo>
                  <a:pt x="0" y="0"/>
                </a:lnTo>
                <a:lnTo>
                  <a:pt x="6090334" y="0"/>
                </a:lnTo>
                <a:cubicBezTo>
                  <a:pt x="6501910" y="0"/>
                  <a:pt x="6837539" y="333257"/>
                  <a:pt x="6837539" y="747378"/>
                </a:cubicBezTo>
                <a:close/>
              </a:path>
            </a:pathLst>
          </a:custGeom>
          <a:solidFill>
            <a:srgbClr val="3C3795"/>
          </a:solidFill>
          <a:ln w="24491" cap="flat">
            <a:noFill/>
            <a:prstDash val="solid"/>
            <a:miter/>
          </a:ln>
        </p:spPr>
        <p:txBody>
          <a:bodyPr rtlCol="0" anchor="ctr"/>
          <a:lstStyle/>
          <a:p>
            <a:endParaRPr lang="en-US" dirty="0"/>
          </a:p>
        </p:txBody>
      </p:sp>
      <p:sp>
        <p:nvSpPr>
          <p:cNvPr id="244" name="Freeform 243">
            <a:extLst>
              <a:ext uri="{FF2B5EF4-FFF2-40B4-BE49-F238E27FC236}">
                <a16:creationId xmlns:a16="http://schemas.microsoft.com/office/drawing/2014/main" id="{D5246388-44E0-F4B8-B4AD-8941899CAF26}"/>
              </a:ext>
            </a:extLst>
          </p:cNvPr>
          <p:cNvSpPr/>
          <p:nvPr userDrawn="1"/>
        </p:nvSpPr>
        <p:spPr>
          <a:xfrm rot="16200000">
            <a:off x="1728368" y="7314032"/>
            <a:ext cx="664268" cy="4121002"/>
          </a:xfrm>
          <a:custGeom>
            <a:avLst/>
            <a:gdLst>
              <a:gd name="connsiteX0" fmla="*/ 715523 w 715523"/>
              <a:gd name="connsiteY0" fmla="*/ 0 h 3981779"/>
              <a:gd name="connsiteX1" fmla="*/ 715523 w 715523"/>
              <a:gd name="connsiteY1" fmla="*/ 3591287 h 3981779"/>
              <a:gd name="connsiteX2" fmla="*/ 328357 w 715523"/>
              <a:gd name="connsiteY2" fmla="*/ 3981779 h 3981779"/>
              <a:gd name="connsiteX3" fmla="*/ 0 w 715523"/>
              <a:gd name="connsiteY3" fmla="*/ 3981779 h 3981779"/>
              <a:gd name="connsiteX4" fmla="*/ 0 w 715523"/>
              <a:gd name="connsiteY4" fmla="*/ 0 h 3981779"/>
              <a:gd name="connsiteX5" fmla="*/ 715523 w 715523"/>
              <a:gd name="connsiteY5" fmla="*/ 0 h 398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523" h="3981779">
                <a:moveTo>
                  <a:pt x="715523" y="0"/>
                </a:moveTo>
                <a:lnTo>
                  <a:pt x="715523" y="3591287"/>
                </a:lnTo>
                <a:cubicBezTo>
                  <a:pt x="715523" y="3806305"/>
                  <a:pt x="541543" y="3981779"/>
                  <a:pt x="328357" y="3981779"/>
                </a:cubicBezTo>
                <a:lnTo>
                  <a:pt x="0" y="3981779"/>
                </a:lnTo>
                <a:lnTo>
                  <a:pt x="0" y="0"/>
                </a:lnTo>
                <a:lnTo>
                  <a:pt x="715523" y="0"/>
                </a:lnTo>
                <a:close/>
              </a:path>
            </a:pathLst>
          </a:custGeom>
          <a:gradFill>
            <a:gsLst>
              <a:gs pos="0">
                <a:srgbClr val="E8068C"/>
              </a:gs>
              <a:gs pos="100000">
                <a:srgbClr val="22BDBF"/>
              </a:gs>
              <a:gs pos="45000">
                <a:srgbClr val="3C3795"/>
              </a:gs>
            </a:gsLst>
            <a:lin ang="5400000" scaled="0"/>
          </a:gradFill>
          <a:ln w="24491" cap="flat">
            <a:noFill/>
            <a:prstDash val="solid"/>
            <a:miter/>
          </a:ln>
        </p:spPr>
        <p:txBody>
          <a:bodyPr wrap="square" rtlCol="0" anchor="ctr">
            <a:noAutofit/>
          </a:bodyPr>
          <a:lstStyle/>
          <a:p>
            <a:endParaRPr lang="en-US" b="0" i="0" dirty="0">
              <a:latin typeface="Calibri" panose="020F0502020204030204" pitchFamily="34" charset="0"/>
            </a:endParaRPr>
          </a:p>
        </p:txBody>
      </p:sp>
      <p:grpSp>
        <p:nvGrpSpPr>
          <p:cNvPr id="248" name="Graphic 95">
            <a:extLst>
              <a:ext uri="{FF2B5EF4-FFF2-40B4-BE49-F238E27FC236}">
                <a16:creationId xmlns:a16="http://schemas.microsoft.com/office/drawing/2014/main" id="{15BFE4AB-44F0-CCF7-FF42-48970F3744AF}"/>
              </a:ext>
            </a:extLst>
          </p:cNvPr>
          <p:cNvGrpSpPr/>
          <p:nvPr userDrawn="1"/>
        </p:nvGrpSpPr>
        <p:grpSpPr>
          <a:xfrm>
            <a:off x="4437069" y="9204083"/>
            <a:ext cx="1509109" cy="423922"/>
            <a:chOff x="584588" y="9078286"/>
            <a:chExt cx="1509109" cy="423922"/>
          </a:xfrm>
          <a:solidFill>
            <a:srgbClr val="000000"/>
          </a:solidFill>
        </p:grpSpPr>
        <p:sp>
          <p:nvSpPr>
            <p:cNvPr id="249" name="Freeform 248">
              <a:extLst>
                <a:ext uri="{FF2B5EF4-FFF2-40B4-BE49-F238E27FC236}">
                  <a16:creationId xmlns:a16="http://schemas.microsoft.com/office/drawing/2014/main" id="{B155D487-DB76-BC81-C7B8-F4F7B7341AA2}"/>
                </a:ext>
              </a:extLst>
            </p:cNvPr>
            <p:cNvSpPr/>
            <p:nvPr/>
          </p:nvSpPr>
          <p:spPr>
            <a:xfrm>
              <a:off x="584588" y="9078286"/>
              <a:ext cx="24498" cy="423922"/>
            </a:xfrm>
            <a:custGeom>
              <a:avLst/>
              <a:gdLst>
                <a:gd name="connsiteX0" fmla="*/ 0 w 24498"/>
                <a:gd name="connsiteY0" fmla="*/ 0 h 423922"/>
                <a:gd name="connsiteX1" fmla="*/ 0 w 24498"/>
                <a:gd name="connsiteY1" fmla="*/ 423923 h 423922"/>
              </a:gdLst>
              <a:ahLst/>
              <a:cxnLst>
                <a:cxn ang="0">
                  <a:pos x="connsiteX0" y="connsiteY0"/>
                </a:cxn>
                <a:cxn ang="0">
                  <a:pos x="connsiteX1" y="connsiteY1"/>
                </a:cxn>
              </a:cxnLst>
              <a:rect l="l" t="t" r="r" b="b"/>
              <a:pathLst>
                <a:path w="24498" h="423922">
                  <a:moveTo>
                    <a:pt x="0" y="0"/>
                  </a:moveTo>
                  <a:lnTo>
                    <a:pt x="0" y="423923"/>
                  </a:lnTo>
                </a:path>
              </a:pathLst>
            </a:custGeom>
            <a:ln w="24491" cap="flat">
              <a:solidFill>
                <a:srgbClr val="E8068C"/>
              </a:solidFill>
              <a:prstDash val="solid"/>
              <a:miter/>
            </a:ln>
          </p:spPr>
          <p:txBody>
            <a:bodyPr rtlCol="0" anchor="ctr"/>
            <a:lstStyle/>
            <a:p>
              <a:endParaRPr lang="en-US"/>
            </a:p>
          </p:txBody>
        </p:sp>
        <p:sp>
          <p:nvSpPr>
            <p:cNvPr id="250" name="Freeform 249">
              <a:extLst>
                <a:ext uri="{FF2B5EF4-FFF2-40B4-BE49-F238E27FC236}">
                  <a16:creationId xmlns:a16="http://schemas.microsoft.com/office/drawing/2014/main" id="{CFDE2570-BDA0-9F72-94C1-863714BBEB66}"/>
                </a:ext>
              </a:extLst>
            </p:cNvPr>
            <p:cNvSpPr/>
            <p:nvPr/>
          </p:nvSpPr>
          <p:spPr>
            <a:xfrm>
              <a:off x="2069199" y="9078286"/>
              <a:ext cx="24498" cy="423922"/>
            </a:xfrm>
            <a:custGeom>
              <a:avLst/>
              <a:gdLst>
                <a:gd name="connsiteX0" fmla="*/ 0 w 24498"/>
                <a:gd name="connsiteY0" fmla="*/ 0 h 423922"/>
                <a:gd name="connsiteX1" fmla="*/ 0 w 24498"/>
                <a:gd name="connsiteY1" fmla="*/ 423923 h 423922"/>
              </a:gdLst>
              <a:ahLst/>
              <a:cxnLst>
                <a:cxn ang="0">
                  <a:pos x="connsiteX0" y="connsiteY0"/>
                </a:cxn>
                <a:cxn ang="0">
                  <a:pos x="connsiteX1" y="connsiteY1"/>
                </a:cxn>
              </a:cxnLst>
              <a:rect l="l" t="t" r="r" b="b"/>
              <a:pathLst>
                <a:path w="24498" h="423922">
                  <a:moveTo>
                    <a:pt x="0" y="0"/>
                  </a:moveTo>
                  <a:lnTo>
                    <a:pt x="0" y="423923"/>
                  </a:lnTo>
                </a:path>
              </a:pathLst>
            </a:custGeom>
            <a:ln w="24491" cap="flat">
              <a:solidFill>
                <a:srgbClr val="E8068C"/>
              </a:solidFill>
              <a:prstDash val="solid"/>
              <a:miter/>
            </a:ln>
          </p:spPr>
          <p:txBody>
            <a:bodyPr rtlCol="0" anchor="ctr"/>
            <a:lstStyle/>
            <a:p>
              <a:endParaRPr lang="en-US"/>
            </a:p>
          </p:txBody>
        </p:sp>
      </p:grpSp>
      <p:sp>
        <p:nvSpPr>
          <p:cNvPr id="251" name="Text Placeholder 23">
            <a:extLst>
              <a:ext uri="{FF2B5EF4-FFF2-40B4-BE49-F238E27FC236}">
                <a16:creationId xmlns:a16="http://schemas.microsoft.com/office/drawing/2014/main" id="{1CD6A7E6-CDC7-2880-98A0-8B64EDAB0A2E}"/>
              </a:ext>
            </a:extLst>
          </p:cNvPr>
          <p:cNvSpPr>
            <a:spLocks noGrp="1"/>
          </p:cNvSpPr>
          <p:nvPr>
            <p:ph type="body" sz="quarter" idx="17" hasCustomPrompt="1"/>
          </p:nvPr>
        </p:nvSpPr>
        <p:spPr>
          <a:xfrm>
            <a:off x="4481399" y="9243346"/>
            <a:ext cx="1230818" cy="419205"/>
          </a:xfrm>
          <a:prstGeom prst="rect">
            <a:avLst/>
          </a:prstGeom>
        </p:spPr>
        <p:txBody>
          <a:bodyPr>
            <a:noAutofit/>
          </a:bodyPr>
          <a:lstStyle>
            <a:lvl1pPr marL="0" indent="0" algn="l">
              <a:spcBef>
                <a:spcPts val="0"/>
              </a:spcBef>
              <a:buNone/>
              <a:defRPr sz="1000" b="0" i="0">
                <a:solidFill>
                  <a:srgbClr val="10153D"/>
                </a:solidFill>
                <a:latin typeface="Calibri" panose="020F0502020204030204" pitchFamily="34" charset="0"/>
                <a:cs typeface="Calibri" panose="020F0502020204030204" pitchFamily="34" charset="0"/>
              </a:defRPr>
            </a:lvl1pPr>
          </a:lstStyle>
          <a:p>
            <a:pPr lvl="0"/>
            <a:r>
              <a:rPr lang="en-US" dirty="0"/>
              <a:t>2025</a:t>
            </a:r>
          </a:p>
          <a:p>
            <a:pPr lvl="0"/>
            <a:r>
              <a:rPr lang="en-US" dirty="0"/>
              <a:t>Document Name</a:t>
            </a:r>
          </a:p>
        </p:txBody>
      </p:sp>
      <p:sp>
        <p:nvSpPr>
          <p:cNvPr id="252" name="Text Placeholder 23">
            <a:extLst>
              <a:ext uri="{FF2B5EF4-FFF2-40B4-BE49-F238E27FC236}">
                <a16:creationId xmlns:a16="http://schemas.microsoft.com/office/drawing/2014/main" id="{BFAE93F3-4632-98F5-E1A5-45987232A254}"/>
              </a:ext>
            </a:extLst>
          </p:cNvPr>
          <p:cNvSpPr>
            <a:spLocks noGrp="1"/>
          </p:cNvSpPr>
          <p:nvPr>
            <p:ph type="body" sz="quarter" idx="18" hasCustomPrompt="1"/>
          </p:nvPr>
        </p:nvSpPr>
        <p:spPr>
          <a:xfrm>
            <a:off x="6045666" y="9236816"/>
            <a:ext cx="1287131" cy="419205"/>
          </a:xfrm>
          <a:prstGeom prst="rect">
            <a:avLst/>
          </a:prstGeom>
        </p:spPr>
        <p:txBody>
          <a:bodyPr>
            <a:noAutofit/>
          </a:bodyPr>
          <a:lstStyle>
            <a:lvl1pPr marL="0" indent="0" algn="l">
              <a:spcBef>
                <a:spcPts val="0"/>
              </a:spcBef>
              <a:buNone/>
              <a:defRPr sz="1000" b="0" i="0">
                <a:solidFill>
                  <a:srgbClr val="10153D"/>
                </a:solidFill>
                <a:latin typeface="Calibri" panose="020F0502020204030204" pitchFamily="34" charset="0"/>
                <a:cs typeface="Calibri" panose="020F0502020204030204" pitchFamily="34" charset="0"/>
              </a:defRPr>
            </a:lvl1pPr>
          </a:lstStyle>
          <a:p>
            <a:pPr lvl="0"/>
            <a:r>
              <a:rPr lang="en-US" dirty="0"/>
              <a:t>By</a:t>
            </a:r>
          </a:p>
          <a:p>
            <a:pPr lvl="0"/>
            <a:r>
              <a:rPr lang="en-US" dirty="0"/>
              <a:t>Partner Name</a:t>
            </a:r>
          </a:p>
        </p:txBody>
      </p:sp>
      <p:sp>
        <p:nvSpPr>
          <p:cNvPr id="315" name="Text Placeholder 32">
            <a:extLst>
              <a:ext uri="{FF2B5EF4-FFF2-40B4-BE49-F238E27FC236}">
                <a16:creationId xmlns:a16="http://schemas.microsoft.com/office/drawing/2014/main" id="{B8487509-53BB-388F-006A-4BAD6505048E}"/>
              </a:ext>
            </a:extLst>
          </p:cNvPr>
          <p:cNvSpPr>
            <a:spLocks noGrp="1"/>
          </p:cNvSpPr>
          <p:nvPr>
            <p:ph type="body" sz="quarter" idx="11" hasCustomPrompt="1"/>
          </p:nvPr>
        </p:nvSpPr>
        <p:spPr>
          <a:xfrm>
            <a:off x="3844501" y="1777740"/>
            <a:ext cx="2951698" cy="574616"/>
          </a:xfrm>
          <a:prstGeom prst="rect">
            <a:avLst/>
          </a:prstGeom>
        </p:spPr>
        <p:txBody>
          <a:bodyPr>
            <a:noAutofit/>
          </a:bodyPr>
          <a:lstStyle>
            <a:lvl1pPr marL="0" indent="0" algn="l">
              <a:lnSpc>
                <a:spcPts val="3620"/>
              </a:lnSpc>
              <a:spcBef>
                <a:spcPts val="0"/>
              </a:spcBef>
              <a:buNone/>
              <a:defRPr sz="36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OUR PROJECT</a:t>
            </a:r>
            <a:endParaRPr lang="en-US" dirty="0"/>
          </a:p>
        </p:txBody>
      </p:sp>
      <p:sp>
        <p:nvSpPr>
          <p:cNvPr id="316" name="Text Placeholder 32">
            <a:extLst>
              <a:ext uri="{FF2B5EF4-FFF2-40B4-BE49-F238E27FC236}">
                <a16:creationId xmlns:a16="http://schemas.microsoft.com/office/drawing/2014/main" id="{3CBD3FC8-89A0-DA5D-9DB5-3777CCB10C5D}"/>
              </a:ext>
            </a:extLst>
          </p:cNvPr>
          <p:cNvSpPr>
            <a:spLocks noGrp="1"/>
          </p:cNvSpPr>
          <p:nvPr>
            <p:ph type="body" sz="quarter" idx="16" hasCustomPrompt="1"/>
          </p:nvPr>
        </p:nvSpPr>
        <p:spPr>
          <a:xfrm>
            <a:off x="3863913" y="961594"/>
            <a:ext cx="2980605" cy="751695"/>
          </a:xfrm>
          <a:prstGeom prst="rect">
            <a:avLst/>
          </a:prstGeom>
        </p:spPr>
        <p:txBody>
          <a:bodyPr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10" name="Picture Placeholder 9">
            <a:extLst>
              <a:ext uri="{FF2B5EF4-FFF2-40B4-BE49-F238E27FC236}">
                <a16:creationId xmlns:a16="http://schemas.microsoft.com/office/drawing/2014/main" id="{6AB5982D-BFAE-D978-DDDB-FC0A18FBFF52}"/>
              </a:ext>
            </a:extLst>
          </p:cNvPr>
          <p:cNvSpPr>
            <a:spLocks noGrp="1"/>
          </p:cNvSpPr>
          <p:nvPr>
            <p:ph type="pic" sz="quarter" idx="44"/>
          </p:nvPr>
        </p:nvSpPr>
        <p:spPr>
          <a:xfrm>
            <a:off x="324576" y="0"/>
            <a:ext cx="6498391" cy="6847921"/>
          </a:xfrm>
          <a:custGeom>
            <a:avLst/>
            <a:gdLst>
              <a:gd name="connsiteX0" fmla="*/ 0 w 6498391"/>
              <a:gd name="connsiteY0" fmla="*/ 0 h 6847921"/>
              <a:gd name="connsiteX1" fmla="*/ 3104188 w 6498391"/>
              <a:gd name="connsiteY1" fmla="*/ 0 h 6847921"/>
              <a:gd name="connsiteX2" fmla="*/ 3104188 w 6498391"/>
              <a:gd name="connsiteY2" fmla="*/ 2507387 h 6847921"/>
              <a:gd name="connsiteX3" fmla="*/ 3104188 w 6498391"/>
              <a:gd name="connsiteY3" fmla="*/ 2765805 h 6847921"/>
              <a:gd name="connsiteX4" fmla="*/ 3972424 w 6498391"/>
              <a:gd name="connsiteY4" fmla="*/ 3486830 h 6847921"/>
              <a:gd name="connsiteX5" fmla="*/ 6498391 w 6498391"/>
              <a:gd name="connsiteY5" fmla="*/ 3486830 h 6847921"/>
              <a:gd name="connsiteX6" fmla="*/ 6498391 w 6498391"/>
              <a:gd name="connsiteY6" fmla="*/ 6847921 h 6847921"/>
              <a:gd name="connsiteX7" fmla="*/ 1659293 w 6498391"/>
              <a:gd name="connsiteY7" fmla="*/ 6847921 h 6847921"/>
              <a:gd name="connsiteX8" fmla="*/ 0 w 6498391"/>
              <a:gd name="connsiteY8" fmla="*/ 4827539 h 684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98391" h="6847921">
                <a:moveTo>
                  <a:pt x="0" y="0"/>
                </a:moveTo>
                <a:lnTo>
                  <a:pt x="3104188" y="0"/>
                </a:lnTo>
                <a:lnTo>
                  <a:pt x="3104188" y="2507387"/>
                </a:lnTo>
                <a:lnTo>
                  <a:pt x="3104188" y="2765805"/>
                </a:lnTo>
                <a:cubicBezTo>
                  <a:pt x="3104188" y="3163495"/>
                  <a:pt x="3493538" y="3486830"/>
                  <a:pt x="3972424" y="3486830"/>
                </a:cubicBezTo>
                <a:lnTo>
                  <a:pt x="6498391" y="3486830"/>
                </a:lnTo>
                <a:lnTo>
                  <a:pt x="6498391" y="6847921"/>
                </a:lnTo>
                <a:lnTo>
                  <a:pt x="1659293" y="6847921"/>
                </a:lnTo>
                <a:cubicBezTo>
                  <a:pt x="743411" y="6847921"/>
                  <a:pt x="0" y="5942733"/>
                  <a:pt x="0" y="4827539"/>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6" name="Text Placeholder 23">
            <a:extLst>
              <a:ext uri="{FF2B5EF4-FFF2-40B4-BE49-F238E27FC236}">
                <a16:creationId xmlns:a16="http://schemas.microsoft.com/office/drawing/2014/main" id="{3EFE99C8-30F3-67F3-BAA8-F5A94189B9E3}"/>
              </a:ext>
            </a:extLst>
          </p:cNvPr>
          <p:cNvSpPr>
            <a:spLocks noGrp="1"/>
          </p:cNvSpPr>
          <p:nvPr>
            <p:ph type="body" sz="quarter" idx="43" hasCustomPrompt="1"/>
          </p:nvPr>
        </p:nvSpPr>
        <p:spPr>
          <a:xfrm>
            <a:off x="520700" y="9145638"/>
            <a:ext cx="3029373" cy="469580"/>
          </a:xfrm>
          <a:prstGeom prst="rect">
            <a:avLst/>
          </a:prstGeom>
        </p:spPr>
        <p:txBody>
          <a:bodyPr>
            <a:normAutofit/>
          </a:bodyPr>
          <a:lstStyle>
            <a:lvl1pPr marL="0" indent="0" algn="l">
              <a:buNone/>
              <a:defRPr sz="2200" b="0" i="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8" name="Picture 7" descr="Co-funded by the European Union logo in png for web usage">
            <a:extLst>
              <a:ext uri="{FF2B5EF4-FFF2-40B4-BE49-F238E27FC236}">
                <a16:creationId xmlns:a16="http://schemas.microsoft.com/office/drawing/2014/main" id="{B13268B6-BC93-9C34-5099-BAF4C73CF2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40338" y="9968498"/>
            <a:ext cx="1753255" cy="366260"/>
          </a:xfrm>
          <a:prstGeom prst="rect">
            <a:avLst/>
          </a:prstGeom>
          <a:noFill/>
          <a:ln>
            <a:noFill/>
          </a:ln>
        </p:spPr>
      </p:pic>
      <p:pic>
        <p:nvPicPr>
          <p:cNvPr id="13" name="Picture 12">
            <a:extLst>
              <a:ext uri="{FF2B5EF4-FFF2-40B4-BE49-F238E27FC236}">
                <a16:creationId xmlns:a16="http://schemas.microsoft.com/office/drawing/2014/main" id="{21AD8A24-F1F1-39EC-6EEE-A0B6A1ACFCC7}"/>
              </a:ext>
            </a:extLst>
          </p:cNvPr>
          <p:cNvPicPr>
            <a:picLocks noChangeAspect="1"/>
          </p:cNvPicPr>
          <p:nvPr userDrawn="1"/>
        </p:nvPicPr>
        <p:blipFill>
          <a:blip r:embed="rId3"/>
          <a:stretch>
            <a:fillRect/>
          </a:stretch>
        </p:blipFill>
        <p:spPr>
          <a:xfrm>
            <a:off x="371061" y="7206937"/>
            <a:ext cx="2221492" cy="1580391"/>
          </a:xfrm>
          <a:prstGeom prst="rect">
            <a:avLst/>
          </a:prstGeom>
        </p:spPr>
      </p:pic>
    </p:spTree>
    <p:extLst>
      <p:ext uri="{BB962C8B-B14F-4D97-AF65-F5344CB8AC3E}">
        <p14:creationId xmlns:p14="http://schemas.microsoft.com/office/powerpoint/2010/main" val="75250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slide 2">
    <p:spTree>
      <p:nvGrpSpPr>
        <p:cNvPr id="1" name=""/>
        <p:cNvGrpSpPr/>
        <p:nvPr/>
      </p:nvGrpSpPr>
      <p:grpSpPr>
        <a:xfrm>
          <a:off x="0" y="0"/>
          <a:ext cx="0" cy="0"/>
          <a:chOff x="0" y="0"/>
          <a:chExt cx="0" cy="0"/>
        </a:xfrm>
      </p:grpSpPr>
      <p:sp>
        <p:nvSpPr>
          <p:cNvPr id="32" name="Freeform 31">
            <a:extLst>
              <a:ext uri="{FF2B5EF4-FFF2-40B4-BE49-F238E27FC236}">
                <a16:creationId xmlns:a16="http://schemas.microsoft.com/office/drawing/2014/main" id="{C6365CBB-E42B-5941-9FB8-2D505B0B5904}"/>
              </a:ext>
            </a:extLst>
          </p:cNvPr>
          <p:cNvSpPr/>
          <p:nvPr userDrawn="1"/>
        </p:nvSpPr>
        <p:spPr>
          <a:xfrm>
            <a:off x="461309" y="2712698"/>
            <a:ext cx="3436545" cy="2405402"/>
          </a:xfrm>
          <a:custGeom>
            <a:avLst/>
            <a:gdLst>
              <a:gd name="connsiteX0" fmla="*/ 960756 w 960756"/>
              <a:gd name="connsiteY0" fmla="*/ 672480 h 672479"/>
              <a:gd name="connsiteX1" fmla="*/ 301406 w 960756"/>
              <a:gd name="connsiteY1" fmla="*/ 672480 h 672479"/>
              <a:gd name="connsiteX2" fmla="*/ 0 w 960756"/>
              <a:gd name="connsiteY2" fmla="*/ 371160 h 672479"/>
              <a:gd name="connsiteX3" fmla="*/ 0 w 960756"/>
              <a:gd name="connsiteY3" fmla="*/ 0 h 672479"/>
              <a:gd name="connsiteX4" fmla="*/ 755497 w 960756"/>
              <a:gd name="connsiteY4" fmla="*/ 0 h 672479"/>
              <a:gd name="connsiteX5" fmla="*/ 960756 w 960756"/>
              <a:gd name="connsiteY5" fmla="*/ 205200 h 672479"/>
              <a:gd name="connsiteX6" fmla="*/ 960756 w 960756"/>
              <a:gd name="connsiteY6" fmla="*/ 672480 h 67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756" h="672479">
                <a:moveTo>
                  <a:pt x="960756" y="672480"/>
                </a:moveTo>
                <a:lnTo>
                  <a:pt x="301406" y="672480"/>
                </a:lnTo>
                <a:cubicBezTo>
                  <a:pt x="135039" y="672480"/>
                  <a:pt x="0" y="537480"/>
                  <a:pt x="0" y="371160"/>
                </a:cubicBezTo>
                <a:lnTo>
                  <a:pt x="0" y="0"/>
                </a:lnTo>
                <a:lnTo>
                  <a:pt x="755497" y="0"/>
                </a:lnTo>
                <a:cubicBezTo>
                  <a:pt x="868930" y="0"/>
                  <a:pt x="960756" y="91800"/>
                  <a:pt x="960756" y="205200"/>
                </a:cubicBezTo>
                <a:lnTo>
                  <a:pt x="960756" y="67248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35" name="Picture Placeholder 34">
            <a:extLst>
              <a:ext uri="{FF2B5EF4-FFF2-40B4-BE49-F238E27FC236}">
                <a16:creationId xmlns:a16="http://schemas.microsoft.com/office/drawing/2014/main" id="{888ACDE7-29DD-3E46-A78F-2228EFD94A9E}"/>
              </a:ext>
            </a:extLst>
          </p:cNvPr>
          <p:cNvSpPr>
            <a:spLocks noGrp="1"/>
          </p:cNvSpPr>
          <p:nvPr>
            <p:ph type="pic" sz="quarter" idx="41"/>
          </p:nvPr>
        </p:nvSpPr>
        <p:spPr>
          <a:xfrm>
            <a:off x="-1" y="-11581"/>
            <a:ext cx="7559675" cy="2723566"/>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r>
              <a:rPr lang="en-US" dirty="0"/>
              <a:t>C</a:t>
            </a:r>
          </a:p>
        </p:txBody>
      </p:sp>
      <p:sp>
        <p:nvSpPr>
          <p:cNvPr id="33" name="Text Placeholder 32">
            <a:extLst>
              <a:ext uri="{FF2B5EF4-FFF2-40B4-BE49-F238E27FC236}">
                <a16:creationId xmlns:a16="http://schemas.microsoft.com/office/drawing/2014/main" id="{86A88A46-E61B-6540-920A-48F1C1274F3C}"/>
              </a:ext>
            </a:extLst>
          </p:cNvPr>
          <p:cNvSpPr>
            <a:spLocks noGrp="1"/>
          </p:cNvSpPr>
          <p:nvPr userDrawn="1">
            <p:ph type="body" sz="quarter" idx="30" hasCustomPrompt="1"/>
          </p:nvPr>
        </p:nvSpPr>
        <p:spPr>
          <a:xfrm>
            <a:off x="700476" y="3385177"/>
            <a:ext cx="2895713" cy="1595763"/>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37" name="Text Placeholder 32">
            <a:extLst>
              <a:ext uri="{FF2B5EF4-FFF2-40B4-BE49-F238E27FC236}">
                <a16:creationId xmlns:a16="http://schemas.microsoft.com/office/drawing/2014/main" id="{12FF88E7-F37D-4B4D-B65C-C01539E4E62C}"/>
              </a:ext>
            </a:extLst>
          </p:cNvPr>
          <p:cNvSpPr>
            <a:spLocks noGrp="1"/>
          </p:cNvSpPr>
          <p:nvPr userDrawn="1">
            <p:ph type="body" sz="quarter" idx="42" hasCustomPrompt="1"/>
          </p:nvPr>
        </p:nvSpPr>
        <p:spPr>
          <a:xfrm>
            <a:off x="706179" y="5345906"/>
            <a:ext cx="3019010" cy="4414479"/>
          </a:xfrm>
          <a:prstGeom prst="rect">
            <a:avLst/>
          </a:prstGeom>
        </p:spPr>
        <p:txBody>
          <a:bodyPr numCol="1"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a:t>
            </a:r>
            <a:endParaRPr lang="en-US" dirty="0"/>
          </a:p>
        </p:txBody>
      </p:sp>
      <p:sp>
        <p:nvSpPr>
          <p:cNvPr id="38" name="Text Placeholder 32">
            <a:extLst>
              <a:ext uri="{FF2B5EF4-FFF2-40B4-BE49-F238E27FC236}">
                <a16:creationId xmlns:a16="http://schemas.microsoft.com/office/drawing/2014/main" id="{1CCE83F2-E8EC-754B-B93C-2CC0039DAB84}"/>
              </a:ext>
            </a:extLst>
          </p:cNvPr>
          <p:cNvSpPr>
            <a:spLocks noGrp="1"/>
          </p:cNvSpPr>
          <p:nvPr userDrawn="1">
            <p:ph type="body" sz="quarter" idx="43" hasCustomPrompt="1"/>
          </p:nvPr>
        </p:nvSpPr>
        <p:spPr>
          <a:xfrm>
            <a:off x="4212469" y="3276997"/>
            <a:ext cx="3019010" cy="6483388"/>
          </a:xfrm>
          <a:prstGeom prst="rect">
            <a:avLst/>
          </a:prstGeom>
        </p:spPr>
        <p:txBody>
          <a:bodyPr numCol="1"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a:t>
            </a:r>
            <a:endParaRPr lang="en-US" dirty="0"/>
          </a:p>
        </p:txBody>
      </p:sp>
      <p:sp>
        <p:nvSpPr>
          <p:cNvPr id="43" name="Slide Number Placeholder 5">
            <a:extLst>
              <a:ext uri="{FF2B5EF4-FFF2-40B4-BE49-F238E27FC236}">
                <a16:creationId xmlns:a16="http://schemas.microsoft.com/office/drawing/2014/main" id="{0CA096AF-F723-AE4C-AB9E-7AF10D1DE2E8}"/>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5216107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nly slide 2">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DA61400A-1069-3D49-A072-960191F9A978}"/>
              </a:ext>
            </a:extLst>
          </p:cNvPr>
          <p:cNvSpPr/>
          <p:nvPr userDrawn="1"/>
        </p:nvSpPr>
        <p:spPr>
          <a:xfrm>
            <a:off x="236144" y="-13489"/>
            <a:ext cx="7332439" cy="2831758"/>
          </a:xfrm>
          <a:custGeom>
            <a:avLst/>
            <a:gdLst>
              <a:gd name="connsiteX0" fmla="*/ 2161701 w 2161701"/>
              <a:gd name="connsiteY0" fmla="*/ 834840 h 834840"/>
              <a:gd name="connsiteX1" fmla="*/ 301407 w 2161701"/>
              <a:gd name="connsiteY1" fmla="*/ 834840 h 834840"/>
              <a:gd name="connsiteX2" fmla="*/ 0 w 2161701"/>
              <a:gd name="connsiteY2" fmla="*/ 533520 h 834840"/>
              <a:gd name="connsiteX3" fmla="*/ 0 w 2161701"/>
              <a:gd name="connsiteY3" fmla="*/ 0 h 834840"/>
              <a:gd name="connsiteX4" fmla="*/ 2161701 w 2161701"/>
              <a:gd name="connsiteY4" fmla="*/ 0 h 834840"/>
              <a:gd name="connsiteX5" fmla="*/ 2161701 w 2161701"/>
              <a:gd name="connsiteY5" fmla="*/ 834840 h 83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1701" h="834840">
                <a:moveTo>
                  <a:pt x="2161701" y="834840"/>
                </a:moveTo>
                <a:lnTo>
                  <a:pt x="301407" y="834840"/>
                </a:lnTo>
                <a:cubicBezTo>
                  <a:pt x="135039" y="834840"/>
                  <a:pt x="0" y="699840"/>
                  <a:pt x="0" y="533520"/>
                </a:cubicBezTo>
                <a:lnTo>
                  <a:pt x="0" y="0"/>
                </a:lnTo>
                <a:lnTo>
                  <a:pt x="2161701" y="0"/>
                </a:lnTo>
                <a:lnTo>
                  <a:pt x="2161701" y="83484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32">
            <a:extLst>
              <a:ext uri="{FF2B5EF4-FFF2-40B4-BE49-F238E27FC236}">
                <a16:creationId xmlns:a16="http://schemas.microsoft.com/office/drawing/2014/main" id="{CEDD8BBD-8C47-2147-BD5E-C2DCFBECE9A7}"/>
              </a:ext>
            </a:extLst>
          </p:cNvPr>
          <p:cNvSpPr>
            <a:spLocks noGrp="1"/>
          </p:cNvSpPr>
          <p:nvPr>
            <p:ph type="body" sz="quarter" idx="32" hasCustomPrompt="1"/>
          </p:nvPr>
        </p:nvSpPr>
        <p:spPr>
          <a:xfrm>
            <a:off x="752315" y="3373219"/>
            <a:ext cx="6143488" cy="5931605"/>
          </a:xfrm>
          <a:prstGeom prst="rect">
            <a:avLst/>
          </a:prstGeom>
        </p:spPr>
        <p:txBody>
          <a:bodyPr numCol="2"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40" name="Slide Number Placeholder 5">
            <a:extLst>
              <a:ext uri="{FF2B5EF4-FFF2-40B4-BE49-F238E27FC236}">
                <a16:creationId xmlns:a16="http://schemas.microsoft.com/office/drawing/2014/main" id="{2E0EDBF4-C242-B740-BE4F-C238F8875658}"/>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4" name="Text Placeholder 32">
            <a:extLst>
              <a:ext uri="{FF2B5EF4-FFF2-40B4-BE49-F238E27FC236}">
                <a16:creationId xmlns:a16="http://schemas.microsoft.com/office/drawing/2014/main" id="{75526359-17BD-16AE-A065-9C196431F866}"/>
              </a:ext>
            </a:extLst>
          </p:cNvPr>
          <p:cNvSpPr>
            <a:spLocks noGrp="1"/>
          </p:cNvSpPr>
          <p:nvPr>
            <p:ph type="body" sz="quarter" idx="34" hasCustomPrompt="1"/>
          </p:nvPr>
        </p:nvSpPr>
        <p:spPr>
          <a:xfrm>
            <a:off x="1235781" y="1979630"/>
            <a:ext cx="5410116" cy="656046"/>
          </a:xfrm>
          <a:prstGeom prst="rect">
            <a:avLst/>
          </a:prstGeom>
        </p:spPr>
        <p:txBody>
          <a:bodyPr numCol="1" spcCol="288000" anchor="t">
            <a:noAutofit/>
          </a:bodyPr>
          <a:lstStyle>
            <a:lvl1pPr marL="0" indent="0" algn="ctr">
              <a:lnSpc>
                <a:spcPct val="100000"/>
              </a:lnSpc>
              <a:spcBef>
                <a:spcPts val="0"/>
              </a:spcBef>
              <a:buNone/>
              <a:defRPr sz="19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Name</a:t>
            </a:r>
            <a:endParaRPr lang="en-US" dirty="0"/>
          </a:p>
        </p:txBody>
      </p:sp>
      <p:sp>
        <p:nvSpPr>
          <p:cNvPr id="5" name="Text Placeholder 23">
            <a:extLst>
              <a:ext uri="{FF2B5EF4-FFF2-40B4-BE49-F238E27FC236}">
                <a16:creationId xmlns:a16="http://schemas.microsoft.com/office/drawing/2014/main" id="{E5369820-1559-E6DA-6A8E-4EF21464C1EB}"/>
              </a:ext>
            </a:extLst>
          </p:cNvPr>
          <p:cNvSpPr>
            <a:spLocks noGrp="1"/>
          </p:cNvSpPr>
          <p:nvPr>
            <p:ph type="body" sz="quarter" idx="35" hasCustomPrompt="1"/>
          </p:nvPr>
        </p:nvSpPr>
        <p:spPr>
          <a:xfrm>
            <a:off x="1236100" y="352384"/>
            <a:ext cx="5400369" cy="1702659"/>
          </a:xfrm>
          <a:prstGeom prst="rect">
            <a:avLst/>
          </a:prstGeom>
        </p:spPr>
        <p:txBody>
          <a:bodyPr anchor="ctr">
            <a:normAutofit/>
          </a:bodyPr>
          <a:lstStyle>
            <a:lvl1pPr marL="0" indent="0" algn="ctr">
              <a:lnSpc>
                <a:spcPts val="1860"/>
              </a:lnSpc>
              <a:spcBef>
                <a:spcPts val="0"/>
              </a:spcBef>
              <a:buNone/>
              <a:defRPr sz="1800" b="0" i="0" baseline="0">
                <a:solidFill>
                  <a:schemeClr val="bg1"/>
                </a:solidFill>
                <a:latin typeface="Calibri" panose="020F0502020204030204" pitchFamily="34" charset="0"/>
                <a:cs typeface="Calibri" panose="020F0502020204030204" pitchFamily="34" charset="0"/>
              </a:defRPr>
            </a:lvl1pPr>
          </a:lstStyle>
          <a:p>
            <a:pPr lvl="0"/>
            <a:r>
              <a:rPr lang="en-US" dirty="0"/>
              <a:t>Quote Slide</a:t>
            </a:r>
          </a:p>
        </p:txBody>
      </p:sp>
    </p:spTree>
    <p:extLst>
      <p:ext uri="{BB962C8B-B14F-4D97-AF65-F5344CB8AC3E}">
        <p14:creationId xmlns:p14="http://schemas.microsoft.com/office/powerpoint/2010/main" val="3948815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3F98B437-661A-CF48-AFB1-073A347AD116}"/>
              </a:ext>
            </a:extLst>
          </p:cNvPr>
          <p:cNvSpPr/>
          <p:nvPr userDrawn="1"/>
        </p:nvSpPr>
        <p:spPr>
          <a:xfrm>
            <a:off x="0" y="1213658"/>
            <a:ext cx="7559675" cy="4869991"/>
          </a:xfrm>
          <a:custGeom>
            <a:avLst/>
            <a:gdLst>
              <a:gd name="connsiteX0" fmla="*/ 2161701 w 2161701"/>
              <a:gd name="connsiteY0" fmla="*/ 1877400 h 1877400"/>
              <a:gd name="connsiteX1" fmla="*/ 301406 w 2161701"/>
              <a:gd name="connsiteY1" fmla="*/ 1877400 h 1877400"/>
              <a:gd name="connsiteX2" fmla="*/ 0 w 2161701"/>
              <a:gd name="connsiteY2" fmla="*/ 1576080 h 1877400"/>
              <a:gd name="connsiteX3" fmla="*/ 0 w 2161701"/>
              <a:gd name="connsiteY3" fmla="*/ 0 h 1877400"/>
              <a:gd name="connsiteX4" fmla="*/ 1956442 w 2161701"/>
              <a:gd name="connsiteY4" fmla="*/ 0 h 1877400"/>
              <a:gd name="connsiteX5" fmla="*/ 2161701 w 2161701"/>
              <a:gd name="connsiteY5" fmla="*/ 205200 h 1877400"/>
              <a:gd name="connsiteX6" fmla="*/ 2161701 w 2161701"/>
              <a:gd name="connsiteY6" fmla="*/ 1877400 h 187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1701" h="1877400">
                <a:moveTo>
                  <a:pt x="2161701" y="1877400"/>
                </a:moveTo>
                <a:lnTo>
                  <a:pt x="301406" y="1877400"/>
                </a:lnTo>
                <a:cubicBezTo>
                  <a:pt x="135039" y="1877400"/>
                  <a:pt x="0" y="1742400"/>
                  <a:pt x="0" y="1576080"/>
                </a:cubicBezTo>
                <a:lnTo>
                  <a:pt x="0" y="0"/>
                </a:lnTo>
                <a:lnTo>
                  <a:pt x="1956442" y="0"/>
                </a:lnTo>
                <a:cubicBezTo>
                  <a:pt x="2069875" y="0"/>
                  <a:pt x="2161701" y="91800"/>
                  <a:pt x="2161701" y="205200"/>
                </a:cubicBezTo>
                <a:lnTo>
                  <a:pt x="2161701" y="187740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41" name="Text Placeholder 32">
            <a:extLst>
              <a:ext uri="{FF2B5EF4-FFF2-40B4-BE49-F238E27FC236}">
                <a16:creationId xmlns:a16="http://schemas.microsoft.com/office/drawing/2014/main" id="{D37EB16C-F26A-5148-9329-CE588D03DB78}"/>
              </a:ext>
            </a:extLst>
          </p:cNvPr>
          <p:cNvSpPr>
            <a:spLocks noGrp="1"/>
          </p:cNvSpPr>
          <p:nvPr>
            <p:ph type="body" sz="quarter" idx="32" hasCustomPrompt="1"/>
          </p:nvPr>
        </p:nvSpPr>
        <p:spPr>
          <a:xfrm>
            <a:off x="559612" y="2049131"/>
            <a:ext cx="6526988" cy="3729370"/>
          </a:xfrm>
          <a:prstGeom prst="rect">
            <a:avLst/>
          </a:prstGeom>
        </p:spPr>
        <p:txBody>
          <a:bodyPr numCol="2" spcCol="288000" anchor="t">
            <a:noAutofit/>
          </a:bodyPr>
          <a:lstStyle>
            <a:lvl1pPr marL="0" indent="0" algn="just">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30" name="Slide Number Placeholder 5">
            <a:extLst>
              <a:ext uri="{FF2B5EF4-FFF2-40B4-BE49-F238E27FC236}">
                <a16:creationId xmlns:a16="http://schemas.microsoft.com/office/drawing/2014/main" id="{75459999-0DCD-1542-8E46-CB0611A745A2}"/>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49" name="Text Placeholder 32">
            <a:extLst>
              <a:ext uri="{FF2B5EF4-FFF2-40B4-BE49-F238E27FC236}">
                <a16:creationId xmlns:a16="http://schemas.microsoft.com/office/drawing/2014/main" id="{93C536F3-CA11-BB49-B12C-64B2C03FD7CC}"/>
              </a:ext>
            </a:extLst>
          </p:cNvPr>
          <p:cNvSpPr>
            <a:spLocks noGrp="1"/>
          </p:cNvSpPr>
          <p:nvPr>
            <p:ph type="body" sz="quarter" idx="33" hasCustomPrompt="1"/>
          </p:nvPr>
        </p:nvSpPr>
        <p:spPr>
          <a:xfrm>
            <a:off x="559612" y="6718314"/>
            <a:ext cx="2696198" cy="1924369"/>
          </a:xfrm>
          <a:prstGeom prst="rect">
            <a:avLst/>
          </a:prstGeom>
        </p:spPr>
        <p:txBody>
          <a:bodyPr>
            <a:noAutofit/>
          </a:bodyPr>
          <a:lstStyle>
            <a:lvl1pPr marL="0" indent="0" algn="l">
              <a:buNone/>
              <a:defRPr sz="22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50" name="Text Placeholder 32">
            <a:extLst>
              <a:ext uri="{FF2B5EF4-FFF2-40B4-BE49-F238E27FC236}">
                <a16:creationId xmlns:a16="http://schemas.microsoft.com/office/drawing/2014/main" id="{CDA9507A-5FC8-294C-A801-C924C61B745E}"/>
              </a:ext>
            </a:extLst>
          </p:cNvPr>
          <p:cNvSpPr>
            <a:spLocks noGrp="1"/>
          </p:cNvSpPr>
          <p:nvPr>
            <p:ph type="body" sz="quarter" idx="34" hasCustomPrompt="1"/>
          </p:nvPr>
        </p:nvSpPr>
        <p:spPr>
          <a:xfrm>
            <a:off x="3446037" y="6718314"/>
            <a:ext cx="3563248" cy="1992304"/>
          </a:xfrm>
          <a:prstGeom prst="rect">
            <a:avLst/>
          </a:prstGeom>
        </p:spPr>
        <p:txBody>
          <a:bodyPr>
            <a:noAutofit/>
          </a:bodyPr>
          <a:lstStyle>
            <a:lvl1pPr marL="0" indent="0" algn="l">
              <a:buNone/>
              <a:defRPr sz="1600" b="0" i="1">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33" name="Freeform 32">
            <a:extLst>
              <a:ext uri="{FF2B5EF4-FFF2-40B4-BE49-F238E27FC236}">
                <a16:creationId xmlns:a16="http://schemas.microsoft.com/office/drawing/2014/main" id="{EE9FA0DD-9E72-8040-B57C-5DEB3A06C91B}"/>
              </a:ext>
            </a:extLst>
          </p:cNvPr>
          <p:cNvSpPr/>
          <p:nvPr userDrawn="1"/>
        </p:nvSpPr>
        <p:spPr>
          <a:xfrm>
            <a:off x="0" y="915871"/>
            <a:ext cx="5834994" cy="715523"/>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gradFill>
            <a:gsLst>
              <a:gs pos="0">
                <a:srgbClr val="E8068C"/>
              </a:gs>
              <a:gs pos="100000">
                <a:srgbClr val="22BDBF"/>
              </a:gs>
              <a:gs pos="45000">
                <a:srgbClr val="3C379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6" name="Text Placeholder 32">
            <a:extLst>
              <a:ext uri="{FF2B5EF4-FFF2-40B4-BE49-F238E27FC236}">
                <a16:creationId xmlns:a16="http://schemas.microsoft.com/office/drawing/2014/main" id="{AC368E38-E328-E144-BE87-9FB9A21078A9}"/>
              </a:ext>
            </a:extLst>
          </p:cNvPr>
          <p:cNvSpPr>
            <a:spLocks noGrp="1"/>
          </p:cNvSpPr>
          <p:nvPr>
            <p:ph type="body" sz="quarter" idx="30" hasCustomPrompt="1"/>
          </p:nvPr>
        </p:nvSpPr>
        <p:spPr>
          <a:xfrm>
            <a:off x="494393" y="1114702"/>
            <a:ext cx="6570888" cy="785535"/>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Tree>
    <p:extLst>
      <p:ext uri="{BB962C8B-B14F-4D97-AF65-F5344CB8AC3E}">
        <p14:creationId xmlns:p14="http://schemas.microsoft.com/office/powerpoint/2010/main" val="2652959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41" name="Text Placeholder 32">
            <a:extLst>
              <a:ext uri="{FF2B5EF4-FFF2-40B4-BE49-F238E27FC236}">
                <a16:creationId xmlns:a16="http://schemas.microsoft.com/office/drawing/2014/main" id="{D37EB16C-F26A-5148-9329-CE588D03DB78}"/>
              </a:ext>
            </a:extLst>
          </p:cNvPr>
          <p:cNvSpPr>
            <a:spLocks noGrp="1"/>
          </p:cNvSpPr>
          <p:nvPr>
            <p:ph type="body" sz="quarter" idx="32" hasCustomPrompt="1"/>
          </p:nvPr>
        </p:nvSpPr>
        <p:spPr>
          <a:xfrm>
            <a:off x="437243" y="4000500"/>
            <a:ext cx="6526988" cy="4857750"/>
          </a:xfrm>
          <a:prstGeom prst="rect">
            <a:avLst/>
          </a:prstGeom>
        </p:spPr>
        <p:txBody>
          <a:bodyPr numCol="2"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30" name="Slide Number Placeholder 5">
            <a:extLst>
              <a:ext uri="{FF2B5EF4-FFF2-40B4-BE49-F238E27FC236}">
                <a16:creationId xmlns:a16="http://schemas.microsoft.com/office/drawing/2014/main" id="{75459999-0DCD-1542-8E46-CB0611A745A2}"/>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33" name="Freeform 32">
            <a:extLst>
              <a:ext uri="{FF2B5EF4-FFF2-40B4-BE49-F238E27FC236}">
                <a16:creationId xmlns:a16="http://schemas.microsoft.com/office/drawing/2014/main" id="{EE9FA0DD-9E72-8040-B57C-5DEB3A06C91B}"/>
              </a:ext>
            </a:extLst>
          </p:cNvPr>
          <p:cNvSpPr/>
          <p:nvPr userDrawn="1"/>
        </p:nvSpPr>
        <p:spPr>
          <a:xfrm>
            <a:off x="0" y="915871"/>
            <a:ext cx="5834994" cy="715523"/>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gradFill>
            <a:gsLst>
              <a:gs pos="0">
                <a:srgbClr val="E8068C"/>
              </a:gs>
              <a:gs pos="100000">
                <a:srgbClr val="22BDBF"/>
              </a:gs>
              <a:gs pos="45000">
                <a:srgbClr val="3C379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6" name="Text Placeholder 32">
            <a:extLst>
              <a:ext uri="{FF2B5EF4-FFF2-40B4-BE49-F238E27FC236}">
                <a16:creationId xmlns:a16="http://schemas.microsoft.com/office/drawing/2014/main" id="{AC368E38-E328-E144-BE87-9FB9A21078A9}"/>
              </a:ext>
            </a:extLst>
          </p:cNvPr>
          <p:cNvSpPr>
            <a:spLocks noGrp="1"/>
          </p:cNvSpPr>
          <p:nvPr>
            <p:ph type="body" sz="quarter" idx="30" hasCustomPrompt="1"/>
          </p:nvPr>
        </p:nvSpPr>
        <p:spPr>
          <a:xfrm>
            <a:off x="437243" y="1057552"/>
            <a:ext cx="6570888" cy="785535"/>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2" name="Text Placeholder 32">
            <a:extLst>
              <a:ext uri="{FF2B5EF4-FFF2-40B4-BE49-F238E27FC236}">
                <a16:creationId xmlns:a16="http://schemas.microsoft.com/office/drawing/2014/main" id="{AA1DDF75-905B-CBCF-3362-CD52E9980F84}"/>
              </a:ext>
            </a:extLst>
          </p:cNvPr>
          <p:cNvSpPr>
            <a:spLocks noGrp="1"/>
          </p:cNvSpPr>
          <p:nvPr>
            <p:ph type="body" sz="quarter" idx="34" hasCustomPrompt="1"/>
          </p:nvPr>
        </p:nvSpPr>
        <p:spPr>
          <a:xfrm>
            <a:off x="437243" y="2317764"/>
            <a:ext cx="6526638" cy="1196961"/>
          </a:xfrm>
          <a:prstGeom prst="rect">
            <a:avLst/>
          </a:prstGeom>
        </p:spPr>
        <p:txBody>
          <a:bodyPr>
            <a:noAutofit/>
          </a:bodyPr>
          <a:lstStyle>
            <a:lvl1pPr marL="0" indent="0" algn="l">
              <a:buNone/>
              <a:defRPr sz="1600" b="0" i="1">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Tree>
    <p:extLst>
      <p:ext uri="{BB962C8B-B14F-4D97-AF65-F5344CB8AC3E}">
        <p14:creationId xmlns:p14="http://schemas.microsoft.com/office/powerpoint/2010/main" val="3790622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44" name="Freeform 43">
            <a:extLst>
              <a:ext uri="{FF2B5EF4-FFF2-40B4-BE49-F238E27FC236}">
                <a16:creationId xmlns:a16="http://schemas.microsoft.com/office/drawing/2014/main" id="{4721AE0B-70F1-CF4A-833A-F3D35301F8B2}"/>
              </a:ext>
            </a:extLst>
          </p:cNvPr>
          <p:cNvSpPr/>
          <p:nvPr userDrawn="1"/>
        </p:nvSpPr>
        <p:spPr>
          <a:xfrm>
            <a:off x="-30805" y="2886754"/>
            <a:ext cx="7590480" cy="6773792"/>
          </a:xfrm>
          <a:custGeom>
            <a:avLst/>
            <a:gdLst>
              <a:gd name="connsiteX0" fmla="*/ 2161701 w 2161701"/>
              <a:gd name="connsiteY0" fmla="*/ 1877400 h 1877400"/>
              <a:gd name="connsiteX1" fmla="*/ 301406 w 2161701"/>
              <a:gd name="connsiteY1" fmla="*/ 1877400 h 1877400"/>
              <a:gd name="connsiteX2" fmla="*/ 0 w 2161701"/>
              <a:gd name="connsiteY2" fmla="*/ 1576080 h 1877400"/>
              <a:gd name="connsiteX3" fmla="*/ 0 w 2161701"/>
              <a:gd name="connsiteY3" fmla="*/ 0 h 1877400"/>
              <a:gd name="connsiteX4" fmla="*/ 1956442 w 2161701"/>
              <a:gd name="connsiteY4" fmla="*/ 0 h 1877400"/>
              <a:gd name="connsiteX5" fmla="*/ 2161701 w 2161701"/>
              <a:gd name="connsiteY5" fmla="*/ 205200 h 1877400"/>
              <a:gd name="connsiteX6" fmla="*/ 2161701 w 2161701"/>
              <a:gd name="connsiteY6" fmla="*/ 1877400 h 187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1701" h="1877400">
                <a:moveTo>
                  <a:pt x="2161701" y="1877400"/>
                </a:moveTo>
                <a:lnTo>
                  <a:pt x="301406" y="1877400"/>
                </a:lnTo>
                <a:cubicBezTo>
                  <a:pt x="135039" y="1877400"/>
                  <a:pt x="0" y="1742400"/>
                  <a:pt x="0" y="1576080"/>
                </a:cubicBezTo>
                <a:lnTo>
                  <a:pt x="0" y="0"/>
                </a:lnTo>
                <a:lnTo>
                  <a:pt x="1956442" y="0"/>
                </a:lnTo>
                <a:cubicBezTo>
                  <a:pt x="2069875" y="0"/>
                  <a:pt x="2161701" y="91800"/>
                  <a:pt x="2161701" y="205200"/>
                </a:cubicBezTo>
                <a:lnTo>
                  <a:pt x="2161701" y="187740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34" name="Rectangle 33">
            <a:extLst>
              <a:ext uri="{FF2B5EF4-FFF2-40B4-BE49-F238E27FC236}">
                <a16:creationId xmlns:a16="http://schemas.microsoft.com/office/drawing/2014/main" id="{BEB25379-6447-4B4A-8B61-4095955F62EA}"/>
              </a:ext>
            </a:extLst>
          </p:cNvPr>
          <p:cNvSpPr/>
          <p:nvPr userDrawn="1"/>
        </p:nvSpPr>
        <p:spPr>
          <a:xfrm flipV="1">
            <a:off x="3751108" y="3293886"/>
            <a:ext cx="3137173" cy="282970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6" name="Text Placeholder 32">
            <a:extLst>
              <a:ext uri="{FF2B5EF4-FFF2-40B4-BE49-F238E27FC236}">
                <a16:creationId xmlns:a16="http://schemas.microsoft.com/office/drawing/2014/main" id="{AC368E38-E328-E144-BE87-9FB9A21078A9}"/>
              </a:ext>
            </a:extLst>
          </p:cNvPr>
          <p:cNvSpPr>
            <a:spLocks noGrp="1"/>
          </p:cNvSpPr>
          <p:nvPr>
            <p:ph type="body" sz="quarter" idx="30" hasCustomPrompt="1"/>
          </p:nvPr>
        </p:nvSpPr>
        <p:spPr>
          <a:xfrm>
            <a:off x="555001" y="751293"/>
            <a:ext cx="2696198" cy="1924369"/>
          </a:xfrm>
          <a:prstGeom prst="rect">
            <a:avLst/>
          </a:prstGeom>
        </p:spPr>
        <p:txBody>
          <a:bodyPr>
            <a:noAutofit/>
          </a:bodyPr>
          <a:lstStyle>
            <a:lvl1pPr marL="0" indent="0" algn="l">
              <a:buNone/>
              <a:defRPr sz="2200" b="1"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46" name="Text Placeholder 32">
            <a:extLst>
              <a:ext uri="{FF2B5EF4-FFF2-40B4-BE49-F238E27FC236}">
                <a16:creationId xmlns:a16="http://schemas.microsoft.com/office/drawing/2014/main" id="{ACD5B979-D0E4-FD45-8E3C-EBA1C4D7AA26}"/>
              </a:ext>
            </a:extLst>
          </p:cNvPr>
          <p:cNvSpPr>
            <a:spLocks noGrp="1"/>
          </p:cNvSpPr>
          <p:nvPr>
            <p:ph type="body" sz="quarter" idx="33" hasCustomPrompt="1"/>
          </p:nvPr>
        </p:nvSpPr>
        <p:spPr>
          <a:xfrm>
            <a:off x="3441426" y="751293"/>
            <a:ext cx="3563248" cy="1992304"/>
          </a:xfrm>
          <a:prstGeom prst="rect">
            <a:avLst/>
          </a:prstGeom>
        </p:spPr>
        <p:txBody>
          <a:bodyPr>
            <a:noAutofit/>
          </a:bodyPr>
          <a:lstStyle>
            <a:lvl1pPr marL="0" indent="0" algn="l">
              <a:buNone/>
              <a:defRPr sz="1600" b="0" i="1">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31" name="Text Placeholder 32">
            <a:extLst>
              <a:ext uri="{FF2B5EF4-FFF2-40B4-BE49-F238E27FC236}">
                <a16:creationId xmlns:a16="http://schemas.microsoft.com/office/drawing/2014/main" id="{16C82EF9-9BA7-6E41-96D6-CB96BDD80231}"/>
              </a:ext>
            </a:extLst>
          </p:cNvPr>
          <p:cNvSpPr>
            <a:spLocks noGrp="1"/>
          </p:cNvSpPr>
          <p:nvPr>
            <p:ph type="body" sz="quarter" idx="44" hasCustomPrompt="1"/>
          </p:nvPr>
        </p:nvSpPr>
        <p:spPr>
          <a:xfrm>
            <a:off x="3986924" y="4751350"/>
            <a:ext cx="2650609" cy="1121330"/>
          </a:xfrm>
          <a:prstGeom prst="rect">
            <a:avLst/>
          </a:prstGeom>
        </p:spPr>
        <p:txBody>
          <a:bodyPr numCol="1"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a:t>
            </a:r>
            <a:endParaRPr lang="en-US" dirty="0"/>
          </a:p>
        </p:txBody>
      </p:sp>
      <p:sp>
        <p:nvSpPr>
          <p:cNvPr id="38" name="Picture Placeholder 37">
            <a:extLst>
              <a:ext uri="{FF2B5EF4-FFF2-40B4-BE49-F238E27FC236}">
                <a16:creationId xmlns:a16="http://schemas.microsoft.com/office/drawing/2014/main" id="{A24171DA-63D4-5F4E-97C6-D3EE7CA6EF13}"/>
              </a:ext>
            </a:extLst>
          </p:cNvPr>
          <p:cNvSpPr>
            <a:spLocks noGrp="1"/>
          </p:cNvSpPr>
          <p:nvPr>
            <p:ph type="pic" sz="quarter" idx="41"/>
          </p:nvPr>
        </p:nvSpPr>
        <p:spPr>
          <a:xfrm rot="10800000" flipV="1">
            <a:off x="515711" y="3293886"/>
            <a:ext cx="3233336" cy="2829706"/>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42" name="Text Placeholder 32">
            <a:extLst>
              <a:ext uri="{FF2B5EF4-FFF2-40B4-BE49-F238E27FC236}">
                <a16:creationId xmlns:a16="http://schemas.microsoft.com/office/drawing/2014/main" id="{851108FB-B3D7-9044-94AA-C959EE017C59}"/>
              </a:ext>
            </a:extLst>
          </p:cNvPr>
          <p:cNvSpPr>
            <a:spLocks noGrp="1"/>
          </p:cNvSpPr>
          <p:nvPr>
            <p:ph type="body" sz="quarter" idx="45" hasCustomPrompt="1"/>
          </p:nvPr>
        </p:nvSpPr>
        <p:spPr>
          <a:xfrm>
            <a:off x="3986924" y="3609613"/>
            <a:ext cx="2665541" cy="862713"/>
          </a:xfrm>
          <a:prstGeom prst="rect">
            <a:avLst/>
          </a:prstGeom>
        </p:spPr>
        <p:txBody>
          <a:bodyPr>
            <a:noAutofit/>
          </a:bodyPr>
          <a:lstStyle>
            <a:lvl1pPr marL="0" indent="0" algn="l">
              <a:buNone/>
              <a:defRPr sz="2200" b="1" i="0">
                <a:solidFill>
                  <a:srgbClr val="22BDBF"/>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49" name="Rectangle 48">
            <a:extLst>
              <a:ext uri="{FF2B5EF4-FFF2-40B4-BE49-F238E27FC236}">
                <a16:creationId xmlns:a16="http://schemas.microsoft.com/office/drawing/2014/main" id="{F02C19B7-4D96-9246-AF36-A4B2000F63DE}"/>
              </a:ext>
            </a:extLst>
          </p:cNvPr>
          <p:cNvSpPr/>
          <p:nvPr userDrawn="1"/>
        </p:nvSpPr>
        <p:spPr>
          <a:xfrm flipV="1">
            <a:off x="555001" y="6458432"/>
            <a:ext cx="3137173" cy="282970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50" name="Text Placeholder 32">
            <a:extLst>
              <a:ext uri="{FF2B5EF4-FFF2-40B4-BE49-F238E27FC236}">
                <a16:creationId xmlns:a16="http://schemas.microsoft.com/office/drawing/2014/main" id="{7B4DAEEA-4D4A-DB48-AFF7-64BA8BDFCDCD}"/>
              </a:ext>
            </a:extLst>
          </p:cNvPr>
          <p:cNvSpPr>
            <a:spLocks noGrp="1"/>
          </p:cNvSpPr>
          <p:nvPr>
            <p:ph type="body" sz="quarter" idx="49" hasCustomPrompt="1"/>
          </p:nvPr>
        </p:nvSpPr>
        <p:spPr>
          <a:xfrm>
            <a:off x="790817" y="7915896"/>
            <a:ext cx="2650609" cy="1121330"/>
          </a:xfrm>
          <a:prstGeom prst="rect">
            <a:avLst/>
          </a:prstGeom>
        </p:spPr>
        <p:txBody>
          <a:bodyPr numCol="1"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a:t>
            </a:r>
            <a:endParaRPr lang="en-US" dirty="0"/>
          </a:p>
        </p:txBody>
      </p:sp>
      <p:sp>
        <p:nvSpPr>
          <p:cNvPr id="51" name="Text Placeholder 32">
            <a:extLst>
              <a:ext uri="{FF2B5EF4-FFF2-40B4-BE49-F238E27FC236}">
                <a16:creationId xmlns:a16="http://schemas.microsoft.com/office/drawing/2014/main" id="{49100D11-7DF0-4F4D-84A7-4F79C1043643}"/>
              </a:ext>
            </a:extLst>
          </p:cNvPr>
          <p:cNvSpPr>
            <a:spLocks noGrp="1"/>
          </p:cNvSpPr>
          <p:nvPr>
            <p:ph type="body" sz="quarter" idx="50" hasCustomPrompt="1"/>
          </p:nvPr>
        </p:nvSpPr>
        <p:spPr>
          <a:xfrm>
            <a:off x="790817" y="6774159"/>
            <a:ext cx="2665541" cy="862713"/>
          </a:xfrm>
          <a:prstGeom prst="rect">
            <a:avLst/>
          </a:prstGeom>
        </p:spPr>
        <p:txBody>
          <a:bodyPr>
            <a:noAutofit/>
          </a:bodyPr>
          <a:lstStyle>
            <a:lvl1pPr marL="0" indent="0" algn="l">
              <a:buNone/>
              <a:defRPr sz="2200" b="1" i="0">
                <a:solidFill>
                  <a:srgbClr val="22BDBF"/>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52" name="Picture Placeholder 51">
            <a:extLst>
              <a:ext uri="{FF2B5EF4-FFF2-40B4-BE49-F238E27FC236}">
                <a16:creationId xmlns:a16="http://schemas.microsoft.com/office/drawing/2014/main" id="{E963AA6B-BE34-8045-9697-6BEA4114B51C}"/>
              </a:ext>
            </a:extLst>
          </p:cNvPr>
          <p:cNvSpPr>
            <a:spLocks noGrp="1"/>
          </p:cNvSpPr>
          <p:nvPr>
            <p:ph type="pic" sz="quarter" idx="51"/>
          </p:nvPr>
        </p:nvSpPr>
        <p:spPr>
          <a:xfrm rot="10800000" flipV="1">
            <a:off x="3692174" y="6458433"/>
            <a:ext cx="3233336" cy="2829706"/>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43" name="Slide Number Placeholder 5">
            <a:extLst>
              <a:ext uri="{FF2B5EF4-FFF2-40B4-BE49-F238E27FC236}">
                <a16:creationId xmlns:a16="http://schemas.microsoft.com/office/drawing/2014/main" id="{D89B14CA-F36E-6F4D-8EB3-DB933CDF37C1}"/>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34770995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text slid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37B0ED-367E-9B2D-911C-2BF47F38E7D0}"/>
              </a:ext>
            </a:extLst>
          </p:cNvPr>
          <p:cNvSpPr/>
          <p:nvPr userDrawn="1"/>
        </p:nvSpPr>
        <p:spPr>
          <a:xfrm>
            <a:off x="0" y="0"/>
            <a:ext cx="7559675" cy="2857500"/>
          </a:xfrm>
          <a:prstGeom prst="rect">
            <a:avLst/>
          </a:prstGeom>
          <a:solidFill>
            <a:srgbClr val="3C379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 Placeholder 32">
            <a:extLst>
              <a:ext uri="{FF2B5EF4-FFF2-40B4-BE49-F238E27FC236}">
                <a16:creationId xmlns:a16="http://schemas.microsoft.com/office/drawing/2014/main" id="{16460BBF-F12D-E04F-AE40-99CCA2BD203E}"/>
              </a:ext>
            </a:extLst>
          </p:cNvPr>
          <p:cNvSpPr>
            <a:spLocks noGrp="1"/>
          </p:cNvSpPr>
          <p:nvPr>
            <p:ph type="body" sz="quarter" idx="30" hasCustomPrompt="1"/>
          </p:nvPr>
        </p:nvSpPr>
        <p:spPr>
          <a:xfrm>
            <a:off x="765328" y="856187"/>
            <a:ext cx="3014509" cy="662358"/>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a:t>
            </a:r>
            <a:endParaRPr lang="en-US" dirty="0"/>
          </a:p>
        </p:txBody>
      </p:sp>
      <p:sp>
        <p:nvSpPr>
          <p:cNvPr id="57" name="Text Placeholder 32">
            <a:extLst>
              <a:ext uri="{FF2B5EF4-FFF2-40B4-BE49-F238E27FC236}">
                <a16:creationId xmlns:a16="http://schemas.microsoft.com/office/drawing/2014/main" id="{55F47CC5-18AC-2A4F-BA84-8406111885B3}"/>
              </a:ext>
            </a:extLst>
          </p:cNvPr>
          <p:cNvSpPr>
            <a:spLocks noGrp="1"/>
          </p:cNvSpPr>
          <p:nvPr>
            <p:ph type="body" sz="quarter" idx="33" hasCustomPrompt="1"/>
          </p:nvPr>
        </p:nvSpPr>
        <p:spPr>
          <a:xfrm>
            <a:off x="765328" y="1518545"/>
            <a:ext cx="3014509" cy="1234447"/>
          </a:xfrm>
          <a:prstGeom prst="rect">
            <a:avLst/>
          </a:prstGeom>
        </p:spPr>
        <p:txBody>
          <a:bodyPr>
            <a:noAutofit/>
          </a:bodyPr>
          <a:lstStyle>
            <a:lvl1pPr marL="0" indent="0" algn="l">
              <a:buNone/>
              <a:defRPr sz="1600" b="0" i="1">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
        <p:nvSpPr>
          <p:cNvPr id="86" name="Slide Number Placeholder 5">
            <a:extLst>
              <a:ext uri="{FF2B5EF4-FFF2-40B4-BE49-F238E27FC236}">
                <a16:creationId xmlns:a16="http://schemas.microsoft.com/office/drawing/2014/main" id="{9BD5854E-577E-C344-ABEC-2EB0599093AC}"/>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11" name="Picture Placeholder 10">
            <a:extLst>
              <a:ext uri="{FF2B5EF4-FFF2-40B4-BE49-F238E27FC236}">
                <a16:creationId xmlns:a16="http://schemas.microsoft.com/office/drawing/2014/main" id="{04A0BDF8-1B3F-9C44-8BE6-CC3BAD2DC9F2}"/>
              </a:ext>
            </a:extLst>
          </p:cNvPr>
          <p:cNvSpPr>
            <a:spLocks noGrp="1"/>
          </p:cNvSpPr>
          <p:nvPr>
            <p:ph type="pic" sz="quarter" idx="44"/>
          </p:nvPr>
        </p:nvSpPr>
        <p:spPr>
          <a:xfrm>
            <a:off x="3977692" y="522985"/>
            <a:ext cx="3064955" cy="2751872"/>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12" name="Text Placeholder 32">
            <a:extLst>
              <a:ext uri="{FF2B5EF4-FFF2-40B4-BE49-F238E27FC236}">
                <a16:creationId xmlns:a16="http://schemas.microsoft.com/office/drawing/2014/main" id="{9023B038-B441-DD49-9460-EE70FFED032C}"/>
              </a:ext>
            </a:extLst>
          </p:cNvPr>
          <p:cNvSpPr>
            <a:spLocks noGrp="1"/>
          </p:cNvSpPr>
          <p:nvPr>
            <p:ph type="body" sz="quarter" idx="32" hasCustomPrompt="1"/>
          </p:nvPr>
        </p:nvSpPr>
        <p:spPr>
          <a:xfrm>
            <a:off x="752315" y="3760791"/>
            <a:ext cx="6143488" cy="5544033"/>
          </a:xfrm>
          <a:prstGeom prst="rect">
            <a:avLst/>
          </a:prstGeom>
        </p:spPr>
        <p:txBody>
          <a:bodyPr numCol="2"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Tree>
    <p:extLst>
      <p:ext uri="{BB962C8B-B14F-4D97-AF65-F5344CB8AC3E}">
        <p14:creationId xmlns:p14="http://schemas.microsoft.com/office/powerpoint/2010/main" val="2997431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487AC39-D388-CE5E-4820-FDC71068EB33}"/>
              </a:ext>
            </a:extLst>
          </p:cNvPr>
          <p:cNvSpPr/>
          <p:nvPr userDrawn="1"/>
        </p:nvSpPr>
        <p:spPr>
          <a:xfrm>
            <a:off x="516986" y="3869871"/>
            <a:ext cx="6720953" cy="4359729"/>
          </a:xfrm>
          <a:custGeom>
            <a:avLst/>
            <a:gdLst>
              <a:gd name="connsiteX0" fmla="*/ 0 w 6720953"/>
              <a:gd name="connsiteY0" fmla="*/ 0 h 4359729"/>
              <a:gd name="connsiteX1" fmla="*/ 2048932 w 6720953"/>
              <a:gd name="connsiteY1" fmla="*/ 0 h 4359729"/>
              <a:gd name="connsiteX2" fmla="*/ 4228401 w 6720953"/>
              <a:gd name="connsiteY2" fmla="*/ 0 h 4359729"/>
              <a:gd name="connsiteX3" fmla="*/ 6277333 w 6720953"/>
              <a:gd name="connsiteY3" fmla="*/ 0 h 4359729"/>
              <a:gd name="connsiteX4" fmla="*/ 6720953 w 6720953"/>
              <a:gd name="connsiteY4" fmla="*/ 476519 h 4359729"/>
              <a:gd name="connsiteX5" fmla="*/ 6720953 w 6720953"/>
              <a:gd name="connsiteY5" fmla="*/ 4359729 h 4359729"/>
              <a:gd name="connsiteX6" fmla="*/ 4672021 w 6720953"/>
              <a:gd name="connsiteY6" fmla="*/ 4359729 h 4359729"/>
              <a:gd name="connsiteX7" fmla="*/ 2700352 w 6720953"/>
              <a:gd name="connsiteY7" fmla="*/ 4359729 h 4359729"/>
              <a:gd name="connsiteX8" fmla="*/ 651420 w 6720953"/>
              <a:gd name="connsiteY8" fmla="*/ 4359729 h 4359729"/>
              <a:gd name="connsiteX9" fmla="*/ 0 w 6720953"/>
              <a:gd name="connsiteY9" fmla="*/ 3659999 h 4359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0953" h="4359729">
                <a:moveTo>
                  <a:pt x="0" y="0"/>
                </a:moveTo>
                <a:lnTo>
                  <a:pt x="2048932" y="0"/>
                </a:lnTo>
                <a:lnTo>
                  <a:pt x="4228401" y="0"/>
                </a:lnTo>
                <a:lnTo>
                  <a:pt x="6277333" y="0"/>
                </a:lnTo>
                <a:cubicBezTo>
                  <a:pt x="6522492" y="0"/>
                  <a:pt x="6720953" y="213180"/>
                  <a:pt x="6720953" y="476519"/>
                </a:cubicBezTo>
                <a:lnTo>
                  <a:pt x="6720953" y="4359729"/>
                </a:lnTo>
                <a:lnTo>
                  <a:pt x="4672021" y="4359729"/>
                </a:lnTo>
                <a:lnTo>
                  <a:pt x="2700352" y="4359729"/>
                </a:lnTo>
                <a:lnTo>
                  <a:pt x="651420" y="4359729"/>
                </a:lnTo>
                <a:cubicBezTo>
                  <a:pt x="291856" y="4359729"/>
                  <a:pt x="0" y="4046230"/>
                  <a:pt x="0" y="3659999"/>
                </a:cubicBezTo>
                <a:close/>
              </a:path>
            </a:pathLst>
          </a:custGeom>
          <a:solidFill>
            <a:srgbClr val="3C3795"/>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23" name="Text Placeholder 23">
            <a:extLst>
              <a:ext uri="{FF2B5EF4-FFF2-40B4-BE49-F238E27FC236}">
                <a16:creationId xmlns:a16="http://schemas.microsoft.com/office/drawing/2014/main" id="{AFD7B270-B1F8-AA40-814A-7A0B76F5C723}"/>
              </a:ext>
            </a:extLst>
          </p:cNvPr>
          <p:cNvSpPr>
            <a:spLocks noGrp="1"/>
          </p:cNvSpPr>
          <p:nvPr>
            <p:ph type="body" sz="quarter" idx="17" hasCustomPrompt="1"/>
          </p:nvPr>
        </p:nvSpPr>
        <p:spPr>
          <a:xfrm>
            <a:off x="3860639" y="9065737"/>
            <a:ext cx="3256950" cy="690592"/>
          </a:xfrm>
          <a:prstGeom prst="rect">
            <a:avLst/>
          </a:prstGeom>
        </p:spPr>
        <p:txBody>
          <a:bodyPr>
            <a:normAutofit/>
          </a:bodyPr>
          <a:lstStyle>
            <a:lvl1pPr marL="0" indent="0" algn="r">
              <a:buNone/>
              <a:defRPr sz="2000" b="1" i="0">
                <a:solidFill>
                  <a:srgbClr val="10153D"/>
                </a:solidFill>
                <a:latin typeface="Calibri" panose="020F0502020204030204" pitchFamily="34" charset="0"/>
                <a:cs typeface="Calibri" panose="020F0502020204030204" pitchFamily="34" charset="0"/>
              </a:defRPr>
            </a:lvl1pPr>
          </a:lstStyle>
          <a:p>
            <a:pPr lvl="0"/>
            <a:r>
              <a:rPr lang="en-US" dirty="0"/>
              <a:t>follow our journey</a:t>
            </a:r>
          </a:p>
        </p:txBody>
      </p:sp>
      <p:pic>
        <p:nvPicPr>
          <p:cNvPr id="9" name="Picture 8">
            <a:extLst>
              <a:ext uri="{FF2B5EF4-FFF2-40B4-BE49-F238E27FC236}">
                <a16:creationId xmlns:a16="http://schemas.microsoft.com/office/drawing/2014/main" id="{C8748557-5C60-D9B8-6A9F-17BCD8020432}"/>
              </a:ext>
            </a:extLst>
          </p:cNvPr>
          <p:cNvPicPr>
            <a:picLocks noChangeAspect="1"/>
          </p:cNvPicPr>
          <p:nvPr userDrawn="1"/>
        </p:nvPicPr>
        <p:blipFill>
          <a:blip r:embed="rId2"/>
          <a:stretch>
            <a:fillRect/>
          </a:stretch>
        </p:blipFill>
        <p:spPr>
          <a:xfrm>
            <a:off x="4784035" y="395320"/>
            <a:ext cx="2221492" cy="1580391"/>
          </a:xfrm>
          <a:prstGeom prst="rect">
            <a:avLst/>
          </a:prstGeom>
        </p:spPr>
      </p:pic>
      <p:sp>
        <p:nvSpPr>
          <p:cNvPr id="13" name="Freeform 12">
            <a:extLst>
              <a:ext uri="{FF2B5EF4-FFF2-40B4-BE49-F238E27FC236}">
                <a16:creationId xmlns:a16="http://schemas.microsoft.com/office/drawing/2014/main" id="{2F124E13-85CB-CB38-EDCB-B200AAF42092}"/>
              </a:ext>
            </a:extLst>
          </p:cNvPr>
          <p:cNvSpPr/>
          <p:nvPr userDrawn="1"/>
        </p:nvSpPr>
        <p:spPr>
          <a:xfrm rot="16200000">
            <a:off x="1728368" y="6041413"/>
            <a:ext cx="664268" cy="4121002"/>
          </a:xfrm>
          <a:custGeom>
            <a:avLst/>
            <a:gdLst>
              <a:gd name="connsiteX0" fmla="*/ 715523 w 715523"/>
              <a:gd name="connsiteY0" fmla="*/ 0 h 3981779"/>
              <a:gd name="connsiteX1" fmla="*/ 715523 w 715523"/>
              <a:gd name="connsiteY1" fmla="*/ 3591287 h 3981779"/>
              <a:gd name="connsiteX2" fmla="*/ 328357 w 715523"/>
              <a:gd name="connsiteY2" fmla="*/ 3981779 h 3981779"/>
              <a:gd name="connsiteX3" fmla="*/ 0 w 715523"/>
              <a:gd name="connsiteY3" fmla="*/ 3981779 h 3981779"/>
              <a:gd name="connsiteX4" fmla="*/ 0 w 715523"/>
              <a:gd name="connsiteY4" fmla="*/ 0 h 3981779"/>
              <a:gd name="connsiteX5" fmla="*/ 715523 w 715523"/>
              <a:gd name="connsiteY5" fmla="*/ 0 h 398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523" h="3981779">
                <a:moveTo>
                  <a:pt x="715523" y="0"/>
                </a:moveTo>
                <a:lnTo>
                  <a:pt x="715523" y="3591287"/>
                </a:lnTo>
                <a:cubicBezTo>
                  <a:pt x="715523" y="3806305"/>
                  <a:pt x="541543" y="3981779"/>
                  <a:pt x="328357" y="3981779"/>
                </a:cubicBezTo>
                <a:lnTo>
                  <a:pt x="0" y="3981779"/>
                </a:lnTo>
                <a:lnTo>
                  <a:pt x="0" y="0"/>
                </a:lnTo>
                <a:lnTo>
                  <a:pt x="715523" y="0"/>
                </a:lnTo>
                <a:close/>
              </a:path>
            </a:pathLst>
          </a:custGeom>
          <a:gradFill>
            <a:gsLst>
              <a:gs pos="0">
                <a:srgbClr val="E8068C"/>
              </a:gs>
              <a:gs pos="100000">
                <a:srgbClr val="22BDBF"/>
              </a:gs>
              <a:gs pos="45000">
                <a:srgbClr val="3C3795"/>
              </a:gs>
            </a:gsLst>
            <a:lin ang="5400000" scaled="0"/>
          </a:gradFill>
          <a:ln w="24491"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23">
            <a:extLst>
              <a:ext uri="{FF2B5EF4-FFF2-40B4-BE49-F238E27FC236}">
                <a16:creationId xmlns:a16="http://schemas.microsoft.com/office/drawing/2014/main" id="{73F60F92-39CB-5E0E-A027-B9C8C2A2D856}"/>
              </a:ext>
            </a:extLst>
          </p:cNvPr>
          <p:cNvSpPr>
            <a:spLocks noGrp="1"/>
          </p:cNvSpPr>
          <p:nvPr>
            <p:ph type="body" sz="quarter" idx="43" hasCustomPrompt="1"/>
          </p:nvPr>
        </p:nvSpPr>
        <p:spPr>
          <a:xfrm>
            <a:off x="520700" y="7873019"/>
            <a:ext cx="3029373" cy="469580"/>
          </a:xfrm>
          <a:prstGeom prst="rect">
            <a:avLst/>
          </a:prstGeom>
        </p:spPr>
        <p:txBody>
          <a:bodyPr>
            <a:normAutofit/>
          </a:bodyPr>
          <a:lstStyle>
            <a:lvl1pPr marL="0" indent="0" algn="l">
              <a:buNone/>
              <a:defRPr sz="2200" b="0" i="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
        <p:nvSpPr>
          <p:cNvPr id="15" name="Graphic 7">
            <a:extLst>
              <a:ext uri="{FF2B5EF4-FFF2-40B4-BE49-F238E27FC236}">
                <a16:creationId xmlns:a16="http://schemas.microsoft.com/office/drawing/2014/main" id="{532B7CB1-82C6-EDE5-3C0C-C6DE7F9B09C4}"/>
              </a:ext>
            </a:extLst>
          </p:cNvPr>
          <p:cNvSpPr/>
          <p:nvPr userDrawn="1"/>
        </p:nvSpPr>
        <p:spPr>
          <a:xfrm>
            <a:off x="4876499" y="6246159"/>
            <a:ext cx="2565016" cy="2084294"/>
          </a:xfrm>
          <a:custGeom>
            <a:avLst/>
            <a:gdLst>
              <a:gd name="connsiteX0" fmla="*/ 790618 w 1279343"/>
              <a:gd name="connsiteY0" fmla="*/ 338443 h 1039575"/>
              <a:gd name="connsiteX1" fmla="*/ 683241 w 1279343"/>
              <a:gd name="connsiteY1" fmla="*/ 400320 h 1039575"/>
              <a:gd name="connsiteX2" fmla="*/ 619575 w 1279343"/>
              <a:gd name="connsiteY2" fmla="*/ 396513 h 1039575"/>
              <a:gd name="connsiteX3" fmla="*/ 446632 w 1279343"/>
              <a:gd name="connsiteY3" fmla="*/ 333683 h 1039575"/>
              <a:gd name="connsiteX4" fmla="*/ 403871 w 1279343"/>
              <a:gd name="connsiteY4" fmla="*/ 547875 h 1039575"/>
              <a:gd name="connsiteX5" fmla="*/ 582516 w 1279343"/>
              <a:gd name="connsiteY5" fmla="*/ 770635 h 1039575"/>
              <a:gd name="connsiteX6" fmla="*/ 790618 w 1279343"/>
              <a:gd name="connsiteY6" fmla="*/ 680198 h 1039575"/>
              <a:gd name="connsiteX7" fmla="*/ 921751 w 1279343"/>
              <a:gd name="connsiteY7" fmla="*/ 471718 h 1039575"/>
              <a:gd name="connsiteX8" fmla="*/ 790618 w 1279343"/>
              <a:gd name="connsiteY8" fmla="*/ 338443 h 1039575"/>
              <a:gd name="connsiteX9" fmla="*/ 790618 w 1279343"/>
              <a:gd name="connsiteY9" fmla="*/ 338443 h 1039575"/>
              <a:gd name="connsiteX10" fmla="*/ 994919 w 1279343"/>
              <a:gd name="connsiteY10" fmla="*/ 471718 h 1039575"/>
              <a:gd name="connsiteX11" fmla="*/ 835279 w 1279343"/>
              <a:gd name="connsiteY11" fmla="*/ 739221 h 1039575"/>
              <a:gd name="connsiteX12" fmla="*/ 659485 w 1279343"/>
              <a:gd name="connsiteY12" fmla="*/ 829657 h 1039575"/>
              <a:gd name="connsiteX13" fmla="*/ 958810 w 1279343"/>
              <a:gd name="connsiteY13" fmla="*/ 965788 h 1039575"/>
              <a:gd name="connsiteX14" fmla="*/ 957860 w 1279343"/>
              <a:gd name="connsiteY14" fmla="*/ 942941 h 1039575"/>
              <a:gd name="connsiteX15" fmla="*/ 961661 w 1279343"/>
              <a:gd name="connsiteY15" fmla="*/ 808714 h 1039575"/>
              <a:gd name="connsiteX16" fmla="*/ 1116549 w 1279343"/>
              <a:gd name="connsiteY16" fmla="*/ 722085 h 1039575"/>
              <a:gd name="connsiteX17" fmla="*/ 1146007 w 1279343"/>
              <a:gd name="connsiteY17" fmla="*/ 317500 h 1039575"/>
              <a:gd name="connsiteX18" fmla="*/ 677540 w 1279343"/>
              <a:gd name="connsiteY18" fmla="*/ 74748 h 1039575"/>
              <a:gd name="connsiteX19" fmla="*/ 247082 w 1279343"/>
              <a:gd name="connsiteY19" fmla="*/ 191840 h 1039575"/>
              <a:gd name="connsiteX20" fmla="*/ 85542 w 1279343"/>
              <a:gd name="connsiteY20" fmla="*/ 407936 h 1039575"/>
              <a:gd name="connsiteX21" fmla="*/ 218575 w 1279343"/>
              <a:gd name="connsiteY21" fmla="*/ 696382 h 1039575"/>
              <a:gd name="connsiteX22" fmla="*/ 474189 w 1279343"/>
              <a:gd name="connsiteY22" fmla="*/ 769684 h 1039575"/>
              <a:gd name="connsiteX23" fmla="*/ 337355 w 1279343"/>
              <a:gd name="connsiteY23" fmla="*/ 577386 h 1039575"/>
              <a:gd name="connsiteX24" fmla="*/ 415274 w 1279343"/>
              <a:gd name="connsiteY24" fmla="*/ 267045 h 1039575"/>
              <a:gd name="connsiteX25" fmla="*/ 657585 w 1279343"/>
              <a:gd name="connsiteY25" fmla="*/ 318451 h 1039575"/>
              <a:gd name="connsiteX26" fmla="*/ 790618 w 1279343"/>
              <a:gd name="connsiteY26" fmla="*/ 264189 h 1039575"/>
              <a:gd name="connsiteX27" fmla="*/ 995869 w 1279343"/>
              <a:gd name="connsiteY27" fmla="*/ 471718 h 1039575"/>
              <a:gd name="connsiteX28" fmla="*/ 995869 w 1279343"/>
              <a:gd name="connsiteY28" fmla="*/ 471718 h 1039575"/>
              <a:gd name="connsiteX29" fmla="*/ 557810 w 1279343"/>
              <a:gd name="connsiteY29" fmla="*/ 846793 h 1039575"/>
              <a:gd name="connsiteX30" fmla="*/ 178665 w 1279343"/>
              <a:gd name="connsiteY30" fmla="*/ 761116 h 1039575"/>
              <a:gd name="connsiteX31" fmla="*/ 12373 w 1279343"/>
              <a:gd name="connsiteY31" fmla="*/ 388897 h 1039575"/>
              <a:gd name="connsiteX32" fmla="*/ 200521 w 1279343"/>
              <a:gd name="connsiteY32" fmla="*/ 132818 h 1039575"/>
              <a:gd name="connsiteX33" fmla="*/ 679440 w 1279343"/>
              <a:gd name="connsiteY33" fmla="*/ 1447 h 1039575"/>
              <a:gd name="connsiteX34" fmla="*/ 1203021 w 1279343"/>
              <a:gd name="connsiteY34" fmla="*/ 273709 h 1039575"/>
              <a:gd name="connsiteX35" fmla="*/ 1158360 w 1279343"/>
              <a:gd name="connsiteY35" fmla="*/ 781107 h 1039575"/>
              <a:gd name="connsiteX36" fmla="*/ 1019625 w 1279343"/>
              <a:gd name="connsiteY36" fmla="*/ 851552 h 1039575"/>
              <a:gd name="connsiteX37" fmla="*/ 1025327 w 1279343"/>
              <a:gd name="connsiteY37" fmla="*/ 917238 h 1039575"/>
              <a:gd name="connsiteX38" fmla="*/ 952158 w 1279343"/>
              <a:gd name="connsiteY38" fmla="*/ 1039090 h 1039575"/>
              <a:gd name="connsiteX39" fmla="*/ 556860 w 1279343"/>
              <a:gd name="connsiteY39" fmla="*/ 846793 h 1039575"/>
              <a:gd name="connsiteX40" fmla="*/ 556860 w 1279343"/>
              <a:gd name="connsiteY40" fmla="*/ 846793 h 10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79343" h="1039575">
                <a:moveTo>
                  <a:pt x="790618" y="338443"/>
                </a:moveTo>
                <a:cubicBezTo>
                  <a:pt x="745957" y="338443"/>
                  <a:pt x="707947" y="363194"/>
                  <a:pt x="683241" y="400320"/>
                </a:cubicBezTo>
                <a:cubicBezTo>
                  <a:pt x="668037" y="424120"/>
                  <a:pt x="631928" y="422216"/>
                  <a:pt x="619575" y="396513"/>
                </a:cubicBezTo>
                <a:cubicBezTo>
                  <a:pt x="587267" y="330827"/>
                  <a:pt x="512198" y="301316"/>
                  <a:pt x="446632" y="333683"/>
                </a:cubicBezTo>
                <a:cubicBezTo>
                  <a:pt x="362061" y="375569"/>
                  <a:pt x="370613" y="474574"/>
                  <a:pt x="403871" y="547875"/>
                </a:cubicBezTo>
                <a:cubicBezTo>
                  <a:pt x="441881" y="632600"/>
                  <a:pt x="512198" y="710662"/>
                  <a:pt x="582516" y="770635"/>
                </a:cubicBezTo>
                <a:cubicBezTo>
                  <a:pt x="654734" y="761116"/>
                  <a:pt x="728853" y="727797"/>
                  <a:pt x="790618" y="680198"/>
                </a:cubicBezTo>
                <a:cubicBezTo>
                  <a:pt x="852384" y="632600"/>
                  <a:pt x="920801" y="554539"/>
                  <a:pt x="921751" y="471718"/>
                </a:cubicBezTo>
                <a:cubicBezTo>
                  <a:pt x="921751" y="398417"/>
                  <a:pt x="864737" y="336539"/>
                  <a:pt x="790618" y="338443"/>
                </a:cubicBezTo>
                <a:lnTo>
                  <a:pt x="790618" y="338443"/>
                </a:lnTo>
                <a:close/>
                <a:moveTo>
                  <a:pt x="994919" y="471718"/>
                </a:moveTo>
                <a:cubicBezTo>
                  <a:pt x="994919" y="579290"/>
                  <a:pt x="917000" y="676391"/>
                  <a:pt x="835279" y="739221"/>
                </a:cubicBezTo>
                <a:cubicBezTo>
                  <a:pt x="783016" y="779203"/>
                  <a:pt x="722201" y="811570"/>
                  <a:pt x="659485" y="829657"/>
                </a:cubicBezTo>
                <a:cubicBezTo>
                  <a:pt x="723151" y="873448"/>
                  <a:pt x="883741" y="960077"/>
                  <a:pt x="958810" y="965788"/>
                </a:cubicBezTo>
                <a:cubicBezTo>
                  <a:pt x="963561" y="965788"/>
                  <a:pt x="963561" y="960077"/>
                  <a:pt x="957860" y="942941"/>
                </a:cubicBezTo>
                <a:cubicBezTo>
                  <a:pt x="935054" y="880111"/>
                  <a:pt x="939805" y="839177"/>
                  <a:pt x="961661" y="808714"/>
                </a:cubicBezTo>
                <a:cubicBezTo>
                  <a:pt x="996820" y="760164"/>
                  <a:pt x="1067137" y="759212"/>
                  <a:pt x="1116549" y="722085"/>
                </a:cubicBezTo>
                <a:cubicBezTo>
                  <a:pt x="1236279" y="633552"/>
                  <a:pt x="1228678" y="430783"/>
                  <a:pt x="1146007" y="317500"/>
                </a:cubicBezTo>
                <a:cubicBezTo>
                  <a:pt x="1035779" y="168041"/>
                  <a:pt x="861886" y="86171"/>
                  <a:pt x="677540" y="74748"/>
                </a:cubicBezTo>
                <a:cubicBezTo>
                  <a:pt x="519800" y="65228"/>
                  <a:pt x="362061" y="106163"/>
                  <a:pt x="247082" y="191840"/>
                </a:cubicBezTo>
                <a:cubicBezTo>
                  <a:pt x="176765" y="244198"/>
                  <a:pt x="109298" y="322259"/>
                  <a:pt x="85542" y="407936"/>
                </a:cubicBezTo>
                <a:cubicBezTo>
                  <a:pt x="51333" y="530740"/>
                  <a:pt x="113099" y="634504"/>
                  <a:pt x="218575" y="696382"/>
                </a:cubicBezTo>
                <a:cubicBezTo>
                  <a:pt x="284141" y="735413"/>
                  <a:pt x="369663" y="761116"/>
                  <a:pt x="474189" y="769684"/>
                </a:cubicBezTo>
                <a:cubicBezTo>
                  <a:pt x="413374" y="707806"/>
                  <a:pt x="365862" y="642120"/>
                  <a:pt x="337355" y="577386"/>
                </a:cubicBezTo>
                <a:cubicBezTo>
                  <a:pt x="286992" y="465054"/>
                  <a:pt x="293644" y="327019"/>
                  <a:pt x="415274" y="267045"/>
                </a:cubicBezTo>
                <a:cubicBezTo>
                  <a:pt x="497945" y="226111"/>
                  <a:pt x="597720" y="247054"/>
                  <a:pt x="657585" y="318451"/>
                </a:cubicBezTo>
                <a:cubicBezTo>
                  <a:pt x="693694" y="284181"/>
                  <a:pt x="741206" y="265141"/>
                  <a:pt x="790618" y="264189"/>
                </a:cubicBezTo>
                <a:cubicBezTo>
                  <a:pt x="905597" y="262285"/>
                  <a:pt x="996820" y="356530"/>
                  <a:pt x="995869" y="471718"/>
                </a:cubicBezTo>
                <a:lnTo>
                  <a:pt x="995869" y="471718"/>
                </a:lnTo>
                <a:close/>
                <a:moveTo>
                  <a:pt x="557810" y="846793"/>
                </a:moveTo>
                <a:cubicBezTo>
                  <a:pt x="435229" y="851552"/>
                  <a:pt x="285092" y="823945"/>
                  <a:pt x="178665" y="761116"/>
                </a:cubicBezTo>
                <a:cubicBezTo>
                  <a:pt x="44682" y="681151"/>
                  <a:pt x="-31337" y="545019"/>
                  <a:pt x="12373" y="388897"/>
                </a:cubicBezTo>
                <a:cubicBezTo>
                  <a:pt x="40881" y="287988"/>
                  <a:pt x="116900" y="194696"/>
                  <a:pt x="200521" y="132818"/>
                </a:cubicBezTo>
                <a:cubicBezTo>
                  <a:pt x="329753" y="37621"/>
                  <a:pt x="504597" y="-9025"/>
                  <a:pt x="679440" y="1447"/>
                </a:cubicBezTo>
                <a:cubicBezTo>
                  <a:pt x="886592" y="14774"/>
                  <a:pt x="1080441" y="107115"/>
                  <a:pt x="1203021" y="273709"/>
                </a:cubicBezTo>
                <a:cubicBezTo>
                  <a:pt x="1310398" y="419360"/>
                  <a:pt x="1312298" y="667823"/>
                  <a:pt x="1158360" y="781107"/>
                </a:cubicBezTo>
                <a:cubicBezTo>
                  <a:pt x="1124151" y="806810"/>
                  <a:pt x="1031028" y="835369"/>
                  <a:pt x="1019625" y="851552"/>
                </a:cubicBezTo>
                <a:cubicBezTo>
                  <a:pt x="1012023" y="862024"/>
                  <a:pt x="1012974" y="881063"/>
                  <a:pt x="1025327" y="917238"/>
                </a:cubicBezTo>
                <a:cubicBezTo>
                  <a:pt x="1060486" y="1014339"/>
                  <a:pt x="1022476" y="1043850"/>
                  <a:pt x="952158" y="1039090"/>
                </a:cubicBezTo>
                <a:cubicBezTo>
                  <a:pt x="840981" y="1031474"/>
                  <a:pt x="642381" y="914382"/>
                  <a:pt x="556860" y="846793"/>
                </a:cubicBezTo>
                <a:lnTo>
                  <a:pt x="556860" y="846793"/>
                </a:lnTo>
                <a:close/>
              </a:path>
            </a:pathLst>
          </a:custGeom>
          <a:solidFill>
            <a:schemeClr val="bg1">
              <a:alpha val="19374"/>
            </a:schemeClr>
          </a:solidFill>
          <a:ln w="9502" cap="flat">
            <a:noFill/>
            <a:prstDash val="solid"/>
            <a:miter/>
          </a:ln>
        </p:spPr>
        <p:txBody>
          <a:bodyPr rtlCol="0" anchor="ctr"/>
          <a:lstStyle/>
          <a:p>
            <a:endParaRPr lang="en-US"/>
          </a:p>
        </p:txBody>
      </p:sp>
      <p:pic>
        <p:nvPicPr>
          <p:cNvPr id="2" name="Picture 1" descr="Co-funded by the European Union logo in png for web usage">
            <a:extLst>
              <a:ext uri="{FF2B5EF4-FFF2-40B4-BE49-F238E27FC236}">
                <a16:creationId xmlns:a16="http://schemas.microsoft.com/office/drawing/2014/main" id="{88F5C483-F874-0572-426E-060A4A28F96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76042" y="10048575"/>
            <a:ext cx="1530819" cy="319792"/>
          </a:xfrm>
          <a:prstGeom prst="rect">
            <a:avLst/>
          </a:prstGeom>
          <a:noFill/>
          <a:ln>
            <a:noFill/>
          </a:ln>
        </p:spPr>
      </p:pic>
      <p:sp>
        <p:nvSpPr>
          <p:cNvPr id="3" name="Rectangle 2">
            <a:extLst>
              <a:ext uri="{FF2B5EF4-FFF2-40B4-BE49-F238E27FC236}">
                <a16:creationId xmlns:a16="http://schemas.microsoft.com/office/drawing/2014/main" id="{982E04BA-6AFD-826B-4211-90C6D9492B5B}"/>
              </a:ext>
            </a:extLst>
          </p:cNvPr>
          <p:cNvSpPr/>
          <p:nvPr userDrawn="1"/>
        </p:nvSpPr>
        <p:spPr>
          <a:xfrm>
            <a:off x="3306861" y="9937884"/>
            <a:ext cx="4068309" cy="541174"/>
          </a:xfrm>
          <a:prstGeom prst="rect">
            <a:avLst/>
          </a:prstGeom>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620" kern="1200" dirty="0">
                <a:solidFill>
                  <a:srgbClr val="3A3953"/>
                </a:solidFill>
                <a:effectLst/>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the European Education and Culture Executive Agency (EACEA). Neither the European Union nor EACEA can be held responsible for them.</a:t>
            </a:r>
          </a:p>
          <a:p>
            <a:pPr marL="0" marR="0" indent="0" algn="just" defTabSz="457200" rtl="0" eaLnBrk="1" fontAlgn="auto" latinLnBrk="0" hangingPunct="0">
              <a:lnSpc>
                <a:spcPts val="660"/>
              </a:lnSpc>
              <a:spcBef>
                <a:spcPts val="0"/>
              </a:spcBef>
              <a:spcAft>
                <a:spcPts val="0"/>
              </a:spcAft>
              <a:buClrTx/>
              <a:buSzTx/>
              <a:buFontTx/>
              <a:buNone/>
              <a:tabLst/>
              <a:defRPr/>
            </a:pPr>
            <a:endParaRPr lang="en-US" sz="620" kern="1200" dirty="0">
              <a:solidFill>
                <a:srgbClr val="3A3953"/>
              </a:solidFill>
              <a:effectLst/>
              <a:latin typeface="Calibri" panose="020F0502020204030204" pitchFamily="34" charset="0"/>
              <a:ea typeface="Open Sans" panose="020B0606030504020204" pitchFamily="34" charset="0"/>
              <a:cs typeface="Calibri" panose="020F0502020204030204" pitchFamily="34" charset="0"/>
            </a:endParaRPr>
          </a:p>
          <a:p>
            <a:pPr marL="0" marR="0" indent="0" algn="just" defTabSz="457200" rtl="0" eaLnBrk="1" fontAlgn="auto" latinLnBrk="0" hangingPunct="0">
              <a:lnSpc>
                <a:spcPts val="660"/>
              </a:lnSpc>
              <a:spcBef>
                <a:spcPts val="0"/>
              </a:spcBef>
              <a:spcAft>
                <a:spcPts val="0"/>
              </a:spcAft>
              <a:buClrTx/>
              <a:buSzTx/>
              <a:buFontTx/>
              <a:buNone/>
              <a:tabLst/>
              <a:defRPr/>
            </a:pPr>
            <a:r>
              <a:rPr lang="en-US" sz="62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Ethical AI Fundamentals Guide © 2025 by VALUES is licensed under </a:t>
            </a:r>
            <a:r>
              <a:rPr lang="en-US" sz="62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4"/>
              </a:rPr>
              <a:t>CC BY 4.0 </a:t>
            </a:r>
            <a:endParaRPr lang="en-IE" sz="62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E8EBEB1C-2F67-5CA6-F012-005F27067658}"/>
              </a:ext>
            </a:extLst>
          </p:cNvPr>
          <p:cNvPicPr>
            <a:picLocks noChangeAspect="1"/>
          </p:cNvPicPr>
          <p:nvPr userDrawn="1"/>
        </p:nvPicPr>
        <p:blipFill>
          <a:blip r:embed="rId5"/>
          <a:stretch>
            <a:fillRect/>
          </a:stretch>
        </p:blipFill>
        <p:spPr>
          <a:xfrm>
            <a:off x="527707" y="10000846"/>
            <a:ext cx="1076208" cy="375819"/>
          </a:xfrm>
          <a:prstGeom prst="rect">
            <a:avLst/>
          </a:prstGeom>
        </p:spPr>
      </p:pic>
    </p:spTree>
    <p:extLst>
      <p:ext uri="{BB962C8B-B14F-4D97-AF65-F5344CB8AC3E}">
        <p14:creationId xmlns:p14="http://schemas.microsoft.com/office/powerpoint/2010/main" val="6273074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E32DA3A4-26D1-94A6-8E70-A7ED428B1874}"/>
              </a:ext>
            </a:extLst>
          </p:cNvPr>
          <p:cNvSpPr/>
          <p:nvPr userDrawn="1"/>
        </p:nvSpPr>
        <p:spPr>
          <a:xfrm rot="16200000" flipH="1">
            <a:off x="2277427" y="562881"/>
            <a:ext cx="4981367" cy="5580910"/>
          </a:xfrm>
          <a:custGeom>
            <a:avLst/>
            <a:gdLst>
              <a:gd name="connsiteX0" fmla="*/ 6256889 w 6951043"/>
              <a:gd name="connsiteY0" fmla="*/ 0 h 7787651"/>
              <a:gd name="connsiteX1" fmla="*/ 5657922 w 6951043"/>
              <a:gd name="connsiteY1" fmla="*/ 0 h 7787651"/>
              <a:gd name="connsiteX2" fmla="*/ 598967 w 6951043"/>
              <a:gd name="connsiteY2" fmla="*/ 0 h 7787651"/>
              <a:gd name="connsiteX3" fmla="*/ 0 w 6951043"/>
              <a:gd name="connsiteY3" fmla="*/ 0 h 7787651"/>
              <a:gd name="connsiteX4" fmla="*/ 0 w 6951043"/>
              <a:gd name="connsiteY4" fmla="*/ 6177281 h 7787651"/>
              <a:gd name="connsiteX5" fmla="*/ 1456585 w 6951043"/>
              <a:gd name="connsiteY5" fmla="*/ 7787651 h 7787651"/>
              <a:gd name="connsiteX6" fmla="*/ 2055552 w 6951043"/>
              <a:gd name="connsiteY6" fmla="*/ 7787651 h 7787651"/>
              <a:gd name="connsiteX7" fmla="*/ 6352076 w 6951043"/>
              <a:gd name="connsiteY7" fmla="*/ 7787651 h 7787651"/>
              <a:gd name="connsiteX8" fmla="*/ 6951043 w 6951043"/>
              <a:gd name="connsiteY8" fmla="*/ 7787651 h 7787651"/>
              <a:gd name="connsiteX9" fmla="*/ 6951043 w 6951043"/>
              <a:gd name="connsiteY9" fmla="*/ 767442 h 7787651"/>
              <a:gd name="connsiteX10" fmla="*/ 6256889 w 6951043"/>
              <a:gd name="connsiteY10" fmla="*/ 0 h 778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51043" h="7787651">
                <a:moveTo>
                  <a:pt x="6256889" y="0"/>
                </a:moveTo>
                <a:lnTo>
                  <a:pt x="5657922" y="0"/>
                </a:lnTo>
                <a:lnTo>
                  <a:pt x="598967" y="0"/>
                </a:lnTo>
                <a:lnTo>
                  <a:pt x="0" y="0"/>
                </a:lnTo>
                <a:lnTo>
                  <a:pt x="0" y="6177281"/>
                </a:lnTo>
                <a:cubicBezTo>
                  <a:pt x="0" y="7065500"/>
                  <a:pt x="653188" y="7787651"/>
                  <a:pt x="1456585" y="7787651"/>
                </a:cubicBezTo>
                <a:lnTo>
                  <a:pt x="2055552" y="7787651"/>
                </a:lnTo>
                <a:lnTo>
                  <a:pt x="6352076" y="7787651"/>
                </a:lnTo>
                <a:lnTo>
                  <a:pt x="6951043" y="7787651"/>
                </a:lnTo>
                <a:lnTo>
                  <a:pt x="6951043" y="767442"/>
                </a:lnTo>
                <a:cubicBezTo>
                  <a:pt x="6951043" y="342204"/>
                  <a:pt x="6639243" y="0"/>
                  <a:pt x="6256889" y="0"/>
                </a:cubicBezTo>
                <a:close/>
              </a:path>
            </a:pathLst>
          </a:custGeom>
          <a:solidFill>
            <a:srgbClr val="3C3795"/>
          </a:solidFill>
          <a:ln w="24491" cap="flat">
            <a:noFill/>
            <a:prstDash val="solid"/>
            <a:miter/>
          </a:ln>
        </p:spPr>
        <p:txBody>
          <a:bodyPr wrap="square" rtlCol="0" anchor="ctr">
            <a:noAutofit/>
          </a:bodyPr>
          <a:lstStyle/>
          <a:p>
            <a:endParaRPr lang="en-US"/>
          </a:p>
        </p:txBody>
      </p:sp>
      <p:sp>
        <p:nvSpPr>
          <p:cNvPr id="130" name="Freeform 129">
            <a:extLst>
              <a:ext uri="{FF2B5EF4-FFF2-40B4-BE49-F238E27FC236}">
                <a16:creationId xmlns:a16="http://schemas.microsoft.com/office/drawing/2014/main" id="{9A1A2E40-53D7-A445-B3EA-EBA0F6C41D9E}"/>
              </a:ext>
            </a:extLst>
          </p:cNvPr>
          <p:cNvSpPr/>
          <p:nvPr userDrawn="1"/>
        </p:nvSpPr>
        <p:spPr>
          <a:xfrm rot="10800000">
            <a:off x="4965992" y="2092094"/>
            <a:ext cx="2628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gradFill>
            <a:gsLst>
              <a:gs pos="0">
                <a:srgbClr val="E8068C"/>
              </a:gs>
              <a:gs pos="100000">
                <a:srgbClr val="22BDBF"/>
              </a:gs>
              <a:gs pos="45000">
                <a:srgbClr val="3C3795"/>
              </a:gs>
            </a:gsLst>
            <a:lin ang="0" scaled="0"/>
          </a:gradFill>
          <a:ln w="24491" cap="flat">
            <a:noFill/>
            <a:prstDash val="solid"/>
            <a:miter/>
          </a:ln>
        </p:spPr>
        <p:txBody>
          <a:bodyPr rtlCol="0" anchor="ctr"/>
          <a:lstStyle/>
          <a:p>
            <a:endParaRPr lang="en-US"/>
          </a:p>
        </p:txBody>
      </p:sp>
      <p:sp>
        <p:nvSpPr>
          <p:cNvPr id="103" name="Text Placeholder 3">
            <a:extLst>
              <a:ext uri="{FF2B5EF4-FFF2-40B4-BE49-F238E27FC236}">
                <a16:creationId xmlns:a16="http://schemas.microsoft.com/office/drawing/2014/main" id="{B8FD85B4-7D91-5042-9A1E-C5532C7322DD}"/>
              </a:ext>
            </a:extLst>
          </p:cNvPr>
          <p:cNvSpPr>
            <a:spLocks noGrp="1"/>
          </p:cNvSpPr>
          <p:nvPr>
            <p:ph type="body" sz="quarter" idx="14" hasCustomPrompt="1"/>
          </p:nvPr>
        </p:nvSpPr>
        <p:spPr>
          <a:xfrm>
            <a:off x="3340765" y="1068401"/>
            <a:ext cx="1952282" cy="1564946"/>
          </a:xfrm>
          <a:effectLst>
            <a:glow rad="127000">
              <a:srgbClr val="414141"/>
            </a:glow>
          </a:effectLst>
        </p:spPr>
        <p:txBody>
          <a:bodyPr>
            <a:noAutofit/>
          </a:bodyPr>
          <a:lstStyle>
            <a:lvl1pPr marL="0" indent="0" algn="ctr">
              <a:buNone/>
              <a:defRPr sz="10000" b="0">
                <a:solidFill>
                  <a:srgbClr val="22BDBF"/>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4" name="Text Placeholder 3">
            <a:extLst>
              <a:ext uri="{FF2B5EF4-FFF2-40B4-BE49-F238E27FC236}">
                <a16:creationId xmlns:a16="http://schemas.microsoft.com/office/drawing/2014/main" id="{0C9DBD77-CF34-0846-A498-521E26D89BBF}"/>
              </a:ext>
            </a:extLst>
          </p:cNvPr>
          <p:cNvSpPr>
            <a:spLocks noGrp="1"/>
          </p:cNvSpPr>
          <p:nvPr>
            <p:ph type="body" sz="quarter" idx="15" hasCustomPrompt="1"/>
          </p:nvPr>
        </p:nvSpPr>
        <p:spPr>
          <a:xfrm>
            <a:off x="3682603" y="2479775"/>
            <a:ext cx="2930148" cy="2002900"/>
          </a:xfrm>
        </p:spPr>
        <p:txBody>
          <a:bodyPr>
            <a:noAutofit/>
          </a:bodyPr>
          <a:lstStyle>
            <a:lvl1pPr marL="0" indent="0" algn="l">
              <a:buNone/>
              <a:defRPr sz="3600" b="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pPr lvl="0"/>
            <a:r>
              <a:rPr lang="en-GB" dirty="0"/>
              <a:t>divider title</a:t>
            </a:r>
            <a:endParaRPr lang="en-US" dirty="0"/>
          </a:p>
        </p:txBody>
      </p:sp>
      <p:sp>
        <p:nvSpPr>
          <p:cNvPr id="9" name="Graphic 7">
            <a:extLst>
              <a:ext uri="{FF2B5EF4-FFF2-40B4-BE49-F238E27FC236}">
                <a16:creationId xmlns:a16="http://schemas.microsoft.com/office/drawing/2014/main" id="{D297E300-BD77-CBF7-630B-3479FC0A3F35}"/>
              </a:ext>
            </a:extLst>
          </p:cNvPr>
          <p:cNvSpPr/>
          <p:nvPr/>
        </p:nvSpPr>
        <p:spPr>
          <a:xfrm>
            <a:off x="1304624" y="2931459"/>
            <a:ext cx="2565016" cy="2084294"/>
          </a:xfrm>
          <a:custGeom>
            <a:avLst/>
            <a:gdLst>
              <a:gd name="connsiteX0" fmla="*/ 790618 w 1279343"/>
              <a:gd name="connsiteY0" fmla="*/ 338443 h 1039575"/>
              <a:gd name="connsiteX1" fmla="*/ 683241 w 1279343"/>
              <a:gd name="connsiteY1" fmla="*/ 400320 h 1039575"/>
              <a:gd name="connsiteX2" fmla="*/ 619575 w 1279343"/>
              <a:gd name="connsiteY2" fmla="*/ 396513 h 1039575"/>
              <a:gd name="connsiteX3" fmla="*/ 446632 w 1279343"/>
              <a:gd name="connsiteY3" fmla="*/ 333683 h 1039575"/>
              <a:gd name="connsiteX4" fmla="*/ 403871 w 1279343"/>
              <a:gd name="connsiteY4" fmla="*/ 547875 h 1039575"/>
              <a:gd name="connsiteX5" fmla="*/ 582516 w 1279343"/>
              <a:gd name="connsiteY5" fmla="*/ 770635 h 1039575"/>
              <a:gd name="connsiteX6" fmla="*/ 790618 w 1279343"/>
              <a:gd name="connsiteY6" fmla="*/ 680198 h 1039575"/>
              <a:gd name="connsiteX7" fmla="*/ 921751 w 1279343"/>
              <a:gd name="connsiteY7" fmla="*/ 471718 h 1039575"/>
              <a:gd name="connsiteX8" fmla="*/ 790618 w 1279343"/>
              <a:gd name="connsiteY8" fmla="*/ 338443 h 1039575"/>
              <a:gd name="connsiteX9" fmla="*/ 790618 w 1279343"/>
              <a:gd name="connsiteY9" fmla="*/ 338443 h 1039575"/>
              <a:gd name="connsiteX10" fmla="*/ 994919 w 1279343"/>
              <a:gd name="connsiteY10" fmla="*/ 471718 h 1039575"/>
              <a:gd name="connsiteX11" fmla="*/ 835279 w 1279343"/>
              <a:gd name="connsiteY11" fmla="*/ 739221 h 1039575"/>
              <a:gd name="connsiteX12" fmla="*/ 659485 w 1279343"/>
              <a:gd name="connsiteY12" fmla="*/ 829657 h 1039575"/>
              <a:gd name="connsiteX13" fmla="*/ 958810 w 1279343"/>
              <a:gd name="connsiteY13" fmla="*/ 965788 h 1039575"/>
              <a:gd name="connsiteX14" fmla="*/ 957860 w 1279343"/>
              <a:gd name="connsiteY14" fmla="*/ 942941 h 1039575"/>
              <a:gd name="connsiteX15" fmla="*/ 961661 w 1279343"/>
              <a:gd name="connsiteY15" fmla="*/ 808714 h 1039575"/>
              <a:gd name="connsiteX16" fmla="*/ 1116549 w 1279343"/>
              <a:gd name="connsiteY16" fmla="*/ 722085 h 1039575"/>
              <a:gd name="connsiteX17" fmla="*/ 1146007 w 1279343"/>
              <a:gd name="connsiteY17" fmla="*/ 317500 h 1039575"/>
              <a:gd name="connsiteX18" fmla="*/ 677540 w 1279343"/>
              <a:gd name="connsiteY18" fmla="*/ 74748 h 1039575"/>
              <a:gd name="connsiteX19" fmla="*/ 247082 w 1279343"/>
              <a:gd name="connsiteY19" fmla="*/ 191840 h 1039575"/>
              <a:gd name="connsiteX20" fmla="*/ 85542 w 1279343"/>
              <a:gd name="connsiteY20" fmla="*/ 407936 h 1039575"/>
              <a:gd name="connsiteX21" fmla="*/ 218575 w 1279343"/>
              <a:gd name="connsiteY21" fmla="*/ 696382 h 1039575"/>
              <a:gd name="connsiteX22" fmla="*/ 474189 w 1279343"/>
              <a:gd name="connsiteY22" fmla="*/ 769684 h 1039575"/>
              <a:gd name="connsiteX23" fmla="*/ 337355 w 1279343"/>
              <a:gd name="connsiteY23" fmla="*/ 577386 h 1039575"/>
              <a:gd name="connsiteX24" fmla="*/ 415274 w 1279343"/>
              <a:gd name="connsiteY24" fmla="*/ 267045 h 1039575"/>
              <a:gd name="connsiteX25" fmla="*/ 657585 w 1279343"/>
              <a:gd name="connsiteY25" fmla="*/ 318451 h 1039575"/>
              <a:gd name="connsiteX26" fmla="*/ 790618 w 1279343"/>
              <a:gd name="connsiteY26" fmla="*/ 264189 h 1039575"/>
              <a:gd name="connsiteX27" fmla="*/ 995869 w 1279343"/>
              <a:gd name="connsiteY27" fmla="*/ 471718 h 1039575"/>
              <a:gd name="connsiteX28" fmla="*/ 995869 w 1279343"/>
              <a:gd name="connsiteY28" fmla="*/ 471718 h 1039575"/>
              <a:gd name="connsiteX29" fmla="*/ 557810 w 1279343"/>
              <a:gd name="connsiteY29" fmla="*/ 846793 h 1039575"/>
              <a:gd name="connsiteX30" fmla="*/ 178665 w 1279343"/>
              <a:gd name="connsiteY30" fmla="*/ 761116 h 1039575"/>
              <a:gd name="connsiteX31" fmla="*/ 12373 w 1279343"/>
              <a:gd name="connsiteY31" fmla="*/ 388897 h 1039575"/>
              <a:gd name="connsiteX32" fmla="*/ 200521 w 1279343"/>
              <a:gd name="connsiteY32" fmla="*/ 132818 h 1039575"/>
              <a:gd name="connsiteX33" fmla="*/ 679440 w 1279343"/>
              <a:gd name="connsiteY33" fmla="*/ 1447 h 1039575"/>
              <a:gd name="connsiteX34" fmla="*/ 1203021 w 1279343"/>
              <a:gd name="connsiteY34" fmla="*/ 273709 h 1039575"/>
              <a:gd name="connsiteX35" fmla="*/ 1158360 w 1279343"/>
              <a:gd name="connsiteY35" fmla="*/ 781107 h 1039575"/>
              <a:gd name="connsiteX36" fmla="*/ 1019625 w 1279343"/>
              <a:gd name="connsiteY36" fmla="*/ 851552 h 1039575"/>
              <a:gd name="connsiteX37" fmla="*/ 1025327 w 1279343"/>
              <a:gd name="connsiteY37" fmla="*/ 917238 h 1039575"/>
              <a:gd name="connsiteX38" fmla="*/ 952158 w 1279343"/>
              <a:gd name="connsiteY38" fmla="*/ 1039090 h 1039575"/>
              <a:gd name="connsiteX39" fmla="*/ 556860 w 1279343"/>
              <a:gd name="connsiteY39" fmla="*/ 846793 h 1039575"/>
              <a:gd name="connsiteX40" fmla="*/ 556860 w 1279343"/>
              <a:gd name="connsiteY40" fmla="*/ 846793 h 10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79343" h="1039575">
                <a:moveTo>
                  <a:pt x="790618" y="338443"/>
                </a:moveTo>
                <a:cubicBezTo>
                  <a:pt x="745957" y="338443"/>
                  <a:pt x="707947" y="363194"/>
                  <a:pt x="683241" y="400320"/>
                </a:cubicBezTo>
                <a:cubicBezTo>
                  <a:pt x="668037" y="424120"/>
                  <a:pt x="631928" y="422216"/>
                  <a:pt x="619575" y="396513"/>
                </a:cubicBezTo>
                <a:cubicBezTo>
                  <a:pt x="587267" y="330827"/>
                  <a:pt x="512198" y="301316"/>
                  <a:pt x="446632" y="333683"/>
                </a:cubicBezTo>
                <a:cubicBezTo>
                  <a:pt x="362061" y="375569"/>
                  <a:pt x="370613" y="474574"/>
                  <a:pt x="403871" y="547875"/>
                </a:cubicBezTo>
                <a:cubicBezTo>
                  <a:pt x="441881" y="632600"/>
                  <a:pt x="512198" y="710662"/>
                  <a:pt x="582516" y="770635"/>
                </a:cubicBezTo>
                <a:cubicBezTo>
                  <a:pt x="654734" y="761116"/>
                  <a:pt x="728853" y="727797"/>
                  <a:pt x="790618" y="680198"/>
                </a:cubicBezTo>
                <a:cubicBezTo>
                  <a:pt x="852384" y="632600"/>
                  <a:pt x="920801" y="554539"/>
                  <a:pt x="921751" y="471718"/>
                </a:cubicBezTo>
                <a:cubicBezTo>
                  <a:pt x="921751" y="398417"/>
                  <a:pt x="864737" y="336539"/>
                  <a:pt x="790618" y="338443"/>
                </a:cubicBezTo>
                <a:lnTo>
                  <a:pt x="790618" y="338443"/>
                </a:lnTo>
                <a:close/>
                <a:moveTo>
                  <a:pt x="994919" y="471718"/>
                </a:moveTo>
                <a:cubicBezTo>
                  <a:pt x="994919" y="579290"/>
                  <a:pt x="917000" y="676391"/>
                  <a:pt x="835279" y="739221"/>
                </a:cubicBezTo>
                <a:cubicBezTo>
                  <a:pt x="783016" y="779203"/>
                  <a:pt x="722201" y="811570"/>
                  <a:pt x="659485" y="829657"/>
                </a:cubicBezTo>
                <a:cubicBezTo>
                  <a:pt x="723151" y="873448"/>
                  <a:pt x="883741" y="960077"/>
                  <a:pt x="958810" y="965788"/>
                </a:cubicBezTo>
                <a:cubicBezTo>
                  <a:pt x="963561" y="965788"/>
                  <a:pt x="963561" y="960077"/>
                  <a:pt x="957860" y="942941"/>
                </a:cubicBezTo>
                <a:cubicBezTo>
                  <a:pt x="935054" y="880111"/>
                  <a:pt x="939805" y="839177"/>
                  <a:pt x="961661" y="808714"/>
                </a:cubicBezTo>
                <a:cubicBezTo>
                  <a:pt x="996820" y="760164"/>
                  <a:pt x="1067137" y="759212"/>
                  <a:pt x="1116549" y="722085"/>
                </a:cubicBezTo>
                <a:cubicBezTo>
                  <a:pt x="1236279" y="633552"/>
                  <a:pt x="1228678" y="430783"/>
                  <a:pt x="1146007" y="317500"/>
                </a:cubicBezTo>
                <a:cubicBezTo>
                  <a:pt x="1035779" y="168041"/>
                  <a:pt x="861886" y="86171"/>
                  <a:pt x="677540" y="74748"/>
                </a:cubicBezTo>
                <a:cubicBezTo>
                  <a:pt x="519800" y="65228"/>
                  <a:pt x="362061" y="106163"/>
                  <a:pt x="247082" y="191840"/>
                </a:cubicBezTo>
                <a:cubicBezTo>
                  <a:pt x="176765" y="244198"/>
                  <a:pt x="109298" y="322259"/>
                  <a:pt x="85542" y="407936"/>
                </a:cubicBezTo>
                <a:cubicBezTo>
                  <a:pt x="51333" y="530740"/>
                  <a:pt x="113099" y="634504"/>
                  <a:pt x="218575" y="696382"/>
                </a:cubicBezTo>
                <a:cubicBezTo>
                  <a:pt x="284141" y="735413"/>
                  <a:pt x="369663" y="761116"/>
                  <a:pt x="474189" y="769684"/>
                </a:cubicBezTo>
                <a:cubicBezTo>
                  <a:pt x="413374" y="707806"/>
                  <a:pt x="365862" y="642120"/>
                  <a:pt x="337355" y="577386"/>
                </a:cubicBezTo>
                <a:cubicBezTo>
                  <a:pt x="286992" y="465054"/>
                  <a:pt x="293644" y="327019"/>
                  <a:pt x="415274" y="267045"/>
                </a:cubicBezTo>
                <a:cubicBezTo>
                  <a:pt x="497945" y="226111"/>
                  <a:pt x="597720" y="247054"/>
                  <a:pt x="657585" y="318451"/>
                </a:cubicBezTo>
                <a:cubicBezTo>
                  <a:pt x="693694" y="284181"/>
                  <a:pt x="741206" y="265141"/>
                  <a:pt x="790618" y="264189"/>
                </a:cubicBezTo>
                <a:cubicBezTo>
                  <a:pt x="905597" y="262285"/>
                  <a:pt x="996820" y="356530"/>
                  <a:pt x="995869" y="471718"/>
                </a:cubicBezTo>
                <a:lnTo>
                  <a:pt x="995869" y="471718"/>
                </a:lnTo>
                <a:close/>
                <a:moveTo>
                  <a:pt x="557810" y="846793"/>
                </a:moveTo>
                <a:cubicBezTo>
                  <a:pt x="435229" y="851552"/>
                  <a:pt x="285092" y="823945"/>
                  <a:pt x="178665" y="761116"/>
                </a:cubicBezTo>
                <a:cubicBezTo>
                  <a:pt x="44682" y="681151"/>
                  <a:pt x="-31337" y="545019"/>
                  <a:pt x="12373" y="388897"/>
                </a:cubicBezTo>
                <a:cubicBezTo>
                  <a:pt x="40881" y="287988"/>
                  <a:pt x="116900" y="194696"/>
                  <a:pt x="200521" y="132818"/>
                </a:cubicBezTo>
                <a:cubicBezTo>
                  <a:pt x="329753" y="37621"/>
                  <a:pt x="504597" y="-9025"/>
                  <a:pt x="679440" y="1447"/>
                </a:cubicBezTo>
                <a:cubicBezTo>
                  <a:pt x="886592" y="14774"/>
                  <a:pt x="1080441" y="107115"/>
                  <a:pt x="1203021" y="273709"/>
                </a:cubicBezTo>
                <a:cubicBezTo>
                  <a:pt x="1310398" y="419360"/>
                  <a:pt x="1312298" y="667823"/>
                  <a:pt x="1158360" y="781107"/>
                </a:cubicBezTo>
                <a:cubicBezTo>
                  <a:pt x="1124151" y="806810"/>
                  <a:pt x="1031028" y="835369"/>
                  <a:pt x="1019625" y="851552"/>
                </a:cubicBezTo>
                <a:cubicBezTo>
                  <a:pt x="1012023" y="862024"/>
                  <a:pt x="1012974" y="881063"/>
                  <a:pt x="1025327" y="917238"/>
                </a:cubicBezTo>
                <a:cubicBezTo>
                  <a:pt x="1060486" y="1014339"/>
                  <a:pt x="1022476" y="1043850"/>
                  <a:pt x="952158" y="1039090"/>
                </a:cubicBezTo>
                <a:cubicBezTo>
                  <a:pt x="840981" y="1031474"/>
                  <a:pt x="642381" y="914382"/>
                  <a:pt x="556860" y="846793"/>
                </a:cubicBezTo>
                <a:lnTo>
                  <a:pt x="556860" y="846793"/>
                </a:lnTo>
                <a:close/>
              </a:path>
            </a:pathLst>
          </a:custGeom>
          <a:solidFill>
            <a:schemeClr val="bg1">
              <a:alpha val="19374"/>
            </a:schemeClr>
          </a:solidFill>
          <a:ln w="950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5BF4C11-2D20-986F-574B-68D3B9FB1C87}"/>
              </a:ext>
            </a:extLst>
          </p:cNvPr>
          <p:cNvSpPr>
            <a:spLocks noGrp="1"/>
          </p:cNvSpPr>
          <p:nvPr>
            <p:ph type="pic" sz="quarter" idx="16"/>
          </p:nvPr>
        </p:nvSpPr>
        <p:spPr>
          <a:xfrm>
            <a:off x="0" y="4577691"/>
            <a:ext cx="6609125" cy="4669090"/>
          </a:xfrm>
          <a:custGeom>
            <a:avLst/>
            <a:gdLst>
              <a:gd name="connsiteX0" fmla="*/ 1149238 w 6609125"/>
              <a:gd name="connsiteY0" fmla="*/ 0 h 4669090"/>
              <a:gd name="connsiteX1" fmla="*/ 6609125 w 6609125"/>
              <a:gd name="connsiteY1" fmla="*/ 0 h 4669090"/>
              <a:gd name="connsiteX2" fmla="*/ 6609125 w 6609125"/>
              <a:gd name="connsiteY2" fmla="*/ 3341636 h 4669090"/>
              <a:gd name="connsiteX3" fmla="*/ 4921558 w 6609125"/>
              <a:gd name="connsiteY3" fmla="*/ 4669090 h 4669090"/>
              <a:gd name="connsiteX4" fmla="*/ 0 w 6609125"/>
              <a:gd name="connsiteY4" fmla="*/ 4669090 h 4669090"/>
              <a:gd name="connsiteX5" fmla="*/ 0 w 6609125"/>
              <a:gd name="connsiteY5" fmla="*/ 904002 h 4669090"/>
              <a:gd name="connsiteX6" fmla="*/ 1149238 w 6609125"/>
              <a:gd name="connsiteY6" fmla="*/ 0 h 466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9125" h="4669090">
                <a:moveTo>
                  <a:pt x="1149238" y="0"/>
                </a:moveTo>
                <a:lnTo>
                  <a:pt x="6609125" y="0"/>
                </a:lnTo>
                <a:lnTo>
                  <a:pt x="6609125" y="3341636"/>
                </a:lnTo>
                <a:cubicBezTo>
                  <a:pt x="6609125" y="4074352"/>
                  <a:pt x="5853046" y="4669090"/>
                  <a:pt x="4921558" y="4669090"/>
                </a:cubicBezTo>
                <a:lnTo>
                  <a:pt x="0" y="4669090"/>
                </a:lnTo>
                <a:lnTo>
                  <a:pt x="0" y="904002"/>
                </a:lnTo>
                <a:cubicBezTo>
                  <a:pt x="0" y="404421"/>
                  <a:pt x="514130" y="0"/>
                  <a:pt x="1149238" y="0"/>
                </a:cubicBezTo>
                <a:close/>
              </a:path>
            </a:pathLst>
          </a:custGeom>
          <a:solidFill>
            <a:schemeClr val="bg1">
              <a:lumMod val="95000"/>
            </a:schemeClr>
          </a:solidFill>
        </p:spPr>
        <p:txBody>
          <a:bodyPr wrap="square">
            <a:noAutofit/>
          </a:bodyPr>
          <a:lstStyle/>
          <a:p>
            <a:endParaRPr lang="en-US"/>
          </a:p>
        </p:txBody>
      </p:sp>
    </p:spTree>
    <p:extLst>
      <p:ext uri="{BB962C8B-B14F-4D97-AF65-F5344CB8AC3E}">
        <p14:creationId xmlns:p14="http://schemas.microsoft.com/office/powerpoint/2010/main" val="1227691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53" name="Freeform 52">
            <a:extLst>
              <a:ext uri="{FF2B5EF4-FFF2-40B4-BE49-F238E27FC236}">
                <a16:creationId xmlns:a16="http://schemas.microsoft.com/office/drawing/2014/main" id="{958D2512-BEB4-C74E-98F5-ED95515BE0EE}"/>
              </a:ext>
            </a:extLst>
          </p:cNvPr>
          <p:cNvSpPr/>
          <p:nvPr userDrawn="1"/>
        </p:nvSpPr>
        <p:spPr>
          <a:xfrm rot="10800000" flipH="1">
            <a:off x="326600" y="228027"/>
            <a:ext cx="2555106" cy="9323906"/>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17" name="Graphic 7">
            <a:extLst>
              <a:ext uri="{FF2B5EF4-FFF2-40B4-BE49-F238E27FC236}">
                <a16:creationId xmlns:a16="http://schemas.microsoft.com/office/drawing/2014/main" id="{D2305D3B-8118-C67C-58C8-701691B4A75D}"/>
              </a:ext>
            </a:extLst>
          </p:cNvPr>
          <p:cNvSpPr/>
          <p:nvPr userDrawn="1"/>
        </p:nvSpPr>
        <p:spPr>
          <a:xfrm>
            <a:off x="235670" y="7720277"/>
            <a:ext cx="2565016" cy="2084294"/>
          </a:xfrm>
          <a:custGeom>
            <a:avLst/>
            <a:gdLst>
              <a:gd name="connsiteX0" fmla="*/ 790618 w 1279343"/>
              <a:gd name="connsiteY0" fmla="*/ 338443 h 1039575"/>
              <a:gd name="connsiteX1" fmla="*/ 683241 w 1279343"/>
              <a:gd name="connsiteY1" fmla="*/ 400320 h 1039575"/>
              <a:gd name="connsiteX2" fmla="*/ 619575 w 1279343"/>
              <a:gd name="connsiteY2" fmla="*/ 396513 h 1039575"/>
              <a:gd name="connsiteX3" fmla="*/ 446632 w 1279343"/>
              <a:gd name="connsiteY3" fmla="*/ 333683 h 1039575"/>
              <a:gd name="connsiteX4" fmla="*/ 403871 w 1279343"/>
              <a:gd name="connsiteY4" fmla="*/ 547875 h 1039575"/>
              <a:gd name="connsiteX5" fmla="*/ 582516 w 1279343"/>
              <a:gd name="connsiteY5" fmla="*/ 770635 h 1039575"/>
              <a:gd name="connsiteX6" fmla="*/ 790618 w 1279343"/>
              <a:gd name="connsiteY6" fmla="*/ 680198 h 1039575"/>
              <a:gd name="connsiteX7" fmla="*/ 921751 w 1279343"/>
              <a:gd name="connsiteY7" fmla="*/ 471718 h 1039575"/>
              <a:gd name="connsiteX8" fmla="*/ 790618 w 1279343"/>
              <a:gd name="connsiteY8" fmla="*/ 338443 h 1039575"/>
              <a:gd name="connsiteX9" fmla="*/ 790618 w 1279343"/>
              <a:gd name="connsiteY9" fmla="*/ 338443 h 1039575"/>
              <a:gd name="connsiteX10" fmla="*/ 994919 w 1279343"/>
              <a:gd name="connsiteY10" fmla="*/ 471718 h 1039575"/>
              <a:gd name="connsiteX11" fmla="*/ 835279 w 1279343"/>
              <a:gd name="connsiteY11" fmla="*/ 739221 h 1039575"/>
              <a:gd name="connsiteX12" fmla="*/ 659485 w 1279343"/>
              <a:gd name="connsiteY12" fmla="*/ 829657 h 1039575"/>
              <a:gd name="connsiteX13" fmla="*/ 958810 w 1279343"/>
              <a:gd name="connsiteY13" fmla="*/ 965788 h 1039575"/>
              <a:gd name="connsiteX14" fmla="*/ 957860 w 1279343"/>
              <a:gd name="connsiteY14" fmla="*/ 942941 h 1039575"/>
              <a:gd name="connsiteX15" fmla="*/ 961661 w 1279343"/>
              <a:gd name="connsiteY15" fmla="*/ 808714 h 1039575"/>
              <a:gd name="connsiteX16" fmla="*/ 1116549 w 1279343"/>
              <a:gd name="connsiteY16" fmla="*/ 722085 h 1039575"/>
              <a:gd name="connsiteX17" fmla="*/ 1146007 w 1279343"/>
              <a:gd name="connsiteY17" fmla="*/ 317500 h 1039575"/>
              <a:gd name="connsiteX18" fmla="*/ 677540 w 1279343"/>
              <a:gd name="connsiteY18" fmla="*/ 74748 h 1039575"/>
              <a:gd name="connsiteX19" fmla="*/ 247082 w 1279343"/>
              <a:gd name="connsiteY19" fmla="*/ 191840 h 1039575"/>
              <a:gd name="connsiteX20" fmla="*/ 85542 w 1279343"/>
              <a:gd name="connsiteY20" fmla="*/ 407936 h 1039575"/>
              <a:gd name="connsiteX21" fmla="*/ 218575 w 1279343"/>
              <a:gd name="connsiteY21" fmla="*/ 696382 h 1039575"/>
              <a:gd name="connsiteX22" fmla="*/ 474189 w 1279343"/>
              <a:gd name="connsiteY22" fmla="*/ 769684 h 1039575"/>
              <a:gd name="connsiteX23" fmla="*/ 337355 w 1279343"/>
              <a:gd name="connsiteY23" fmla="*/ 577386 h 1039575"/>
              <a:gd name="connsiteX24" fmla="*/ 415274 w 1279343"/>
              <a:gd name="connsiteY24" fmla="*/ 267045 h 1039575"/>
              <a:gd name="connsiteX25" fmla="*/ 657585 w 1279343"/>
              <a:gd name="connsiteY25" fmla="*/ 318451 h 1039575"/>
              <a:gd name="connsiteX26" fmla="*/ 790618 w 1279343"/>
              <a:gd name="connsiteY26" fmla="*/ 264189 h 1039575"/>
              <a:gd name="connsiteX27" fmla="*/ 995869 w 1279343"/>
              <a:gd name="connsiteY27" fmla="*/ 471718 h 1039575"/>
              <a:gd name="connsiteX28" fmla="*/ 995869 w 1279343"/>
              <a:gd name="connsiteY28" fmla="*/ 471718 h 1039575"/>
              <a:gd name="connsiteX29" fmla="*/ 557810 w 1279343"/>
              <a:gd name="connsiteY29" fmla="*/ 846793 h 1039575"/>
              <a:gd name="connsiteX30" fmla="*/ 178665 w 1279343"/>
              <a:gd name="connsiteY30" fmla="*/ 761116 h 1039575"/>
              <a:gd name="connsiteX31" fmla="*/ 12373 w 1279343"/>
              <a:gd name="connsiteY31" fmla="*/ 388897 h 1039575"/>
              <a:gd name="connsiteX32" fmla="*/ 200521 w 1279343"/>
              <a:gd name="connsiteY32" fmla="*/ 132818 h 1039575"/>
              <a:gd name="connsiteX33" fmla="*/ 679440 w 1279343"/>
              <a:gd name="connsiteY33" fmla="*/ 1447 h 1039575"/>
              <a:gd name="connsiteX34" fmla="*/ 1203021 w 1279343"/>
              <a:gd name="connsiteY34" fmla="*/ 273709 h 1039575"/>
              <a:gd name="connsiteX35" fmla="*/ 1158360 w 1279343"/>
              <a:gd name="connsiteY35" fmla="*/ 781107 h 1039575"/>
              <a:gd name="connsiteX36" fmla="*/ 1019625 w 1279343"/>
              <a:gd name="connsiteY36" fmla="*/ 851552 h 1039575"/>
              <a:gd name="connsiteX37" fmla="*/ 1025327 w 1279343"/>
              <a:gd name="connsiteY37" fmla="*/ 917238 h 1039575"/>
              <a:gd name="connsiteX38" fmla="*/ 952158 w 1279343"/>
              <a:gd name="connsiteY38" fmla="*/ 1039090 h 1039575"/>
              <a:gd name="connsiteX39" fmla="*/ 556860 w 1279343"/>
              <a:gd name="connsiteY39" fmla="*/ 846793 h 1039575"/>
              <a:gd name="connsiteX40" fmla="*/ 556860 w 1279343"/>
              <a:gd name="connsiteY40" fmla="*/ 846793 h 10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79343" h="1039575">
                <a:moveTo>
                  <a:pt x="790618" y="338443"/>
                </a:moveTo>
                <a:cubicBezTo>
                  <a:pt x="745957" y="338443"/>
                  <a:pt x="707947" y="363194"/>
                  <a:pt x="683241" y="400320"/>
                </a:cubicBezTo>
                <a:cubicBezTo>
                  <a:pt x="668037" y="424120"/>
                  <a:pt x="631928" y="422216"/>
                  <a:pt x="619575" y="396513"/>
                </a:cubicBezTo>
                <a:cubicBezTo>
                  <a:pt x="587267" y="330827"/>
                  <a:pt x="512198" y="301316"/>
                  <a:pt x="446632" y="333683"/>
                </a:cubicBezTo>
                <a:cubicBezTo>
                  <a:pt x="362061" y="375569"/>
                  <a:pt x="370613" y="474574"/>
                  <a:pt x="403871" y="547875"/>
                </a:cubicBezTo>
                <a:cubicBezTo>
                  <a:pt x="441881" y="632600"/>
                  <a:pt x="512198" y="710662"/>
                  <a:pt x="582516" y="770635"/>
                </a:cubicBezTo>
                <a:cubicBezTo>
                  <a:pt x="654734" y="761116"/>
                  <a:pt x="728853" y="727797"/>
                  <a:pt x="790618" y="680198"/>
                </a:cubicBezTo>
                <a:cubicBezTo>
                  <a:pt x="852384" y="632600"/>
                  <a:pt x="920801" y="554539"/>
                  <a:pt x="921751" y="471718"/>
                </a:cubicBezTo>
                <a:cubicBezTo>
                  <a:pt x="921751" y="398417"/>
                  <a:pt x="864737" y="336539"/>
                  <a:pt x="790618" y="338443"/>
                </a:cubicBezTo>
                <a:lnTo>
                  <a:pt x="790618" y="338443"/>
                </a:lnTo>
                <a:close/>
                <a:moveTo>
                  <a:pt x="994919" y="471718"/>
                </a:moveTo>
                <a:cubicBezTo>
                  <a:pt x="994919" y="579290"/>
                  <a:pt x="917000" y="676391"/>
                  <a:pt x="835279" y="739221"/>
                </a:cubicBezTo>
                <a:cubicBezTo>
                  <a:pt x="783016" y="779203"/>
                  <a:pt x="722201" y="811570"/>
                  <a:pt x="659485" y="829657"/>
                </a:cubicBezTo>
                <a:cubicBezTo>
                  <a:pt x="723151" y="873448"/>
                  <a:pt x="883741" y="960077"/>
                  <a:pt x="958810" y="965788"/>
                </a:cubicBezTo>
                <a:cubicBezTo>
                  <a:pt x="963561" y="965788"/>
                  <a:pt x="963561" y="960077"/>
                  <a:pt x="957860" y="942941"/>
                </a:cubicBezTo>
                <a:cubicBezTo>
                  <a:pt x="935054" y="880111"/>
                  <a:pt x="939805" y="839177"/>
                  <a:pt x="961661" y="808714"/>
                </a:cubicBezTo>
                <a:cubicBezTo>
                  <a:pt x="996820" y="760164"/>
                  <a:pt x="1067137" y="759212"/>
                  <a:pt x="1116549" y="722085"/>
                </a:cubicBezTo>
                <a:cubicBezTo>
                  <a:pt x="1236279" y="633552"/>
                  <a:pt x="1228678" y="430783"/>
                  <a:pt x="1146007" y="317500"/>
                </a:cubicBezTo>
                <a:cubicBezTo>
                  <a:pt x="1035779" y="168041"/>
                  <a:pt x="861886" y="86171"/>
                  <a:pt x="677540" y="74748"/>
                </a:cubicBezTo>
                <a:cubicBezTo>
                  <a:pt x="519800" y="65228"/>
                  <a:pt x="362061" y="106163"/>
                  <a:pt x="247082" y="191840"/>
                </a:cubicBezTo>
                <a:cubicBezTo>
                  <a:pt x="176765" y="244198"/>
                  <a:pt x="109298" y="322259"/>
                  <a:pt x="85542" y="407936"/>
                </a:cubicBezTo>
                <a:cubicBezTo>
                  <a:pt x="51333" y="530740"/>
                  <a:pt x="113099" y="634504"/>
                  <a:pt x="218575" y="696382"/>
                </a:cubicBezTo>
                <a:cubicBezTo>
                  <a:pt x="284141" y="735413"/>
                  <a:pt x="369663" y="761116"/>
                  <a:pt x="474189" y="769684"/>
                </a:cubicBezTo>
                <a:cubicBezTo>
                  <a:pt x="413374" y="707806"/>
                  <a:pt x="365862" y="642120"/>
                  <a:pt x="337355" y="577386"/>
                </a:cubicBezTo>
                <a:cubicBezTo>
                  <a:pt x="286992" y="465054"/>
                  <a:pt x="293644" y="327019"/>
                  <a:pt x="415274" y="267045"/>
                </a:cubicBezTo>
                <a:cubicBezTo>
                  <a:pt x="497945" y="226111"/>
                  <a:pt x="597720" y="247054"/>
                  <a:pt x="657585" y="318451"/>
                </a:cubicBezTo>
                <a:cubicBezTo>
                  <a:pt x="693694" y="284181"/>
                  <a:pt x="741206" y="265141"/>
                  <a:pt x="790618" y="264189"/>
                </a:cubicBezTo>
                <a:cubicBezTo>
                  <a:pt x="905597" y="262285"/>
                  <a:pt x="996820" y="356530"/>
                  <a:pt x="995869" y="471718"/>
                </a:cubicBezTo>
                <a:lnTo>
                  <a:pt x="995869" y="471718"/>
                </a:lnTo>
                <a:close/>
                <a:moveTo>
                  <a:pt x="557810" y="846793"/>
                </a:moveTo>
                <a:cubicBezTo>
                  <a:pt x="435229" y="851552"/>
                  <a:pt x="285092" y="823945"/>
                  <a:pt x="178665" y="761116"/>
                </a:cubicBezTo>
                <a:cubicBezTo>
                  <a:pt x="44682" y="681151"/>
                  <a:pt x="-31337" y="545019"/>
                  <a:pt x="12373" y="388897"/>
                </a:cubicBezTo>
                <a:cubicBezTo>
                  <a:pt x="40881" y="287988"/>
                  <a:pt x="116900" y="194696"/>
                  <a:pt x="200521" y="132818"/>
                </a:cubicBezTo>
                <a:cubicBezTo>
                  <a:pt x="329753" y="37621"/>
                  <a:pt x="504597" y="-9025"/>
                  <a:pt x="679440" y="1447"/>
                </a:cubicBezTo>
                <a:cubicBezTo>
                  <a:pt x="886592" y="14774"/>
                  <a:pt x="1080441" y="107115"/>
                  <a:pt x="1203021" y="273709"/>
                </a:cubicBezTo>
                <a:cubicBezTo>
                  <a:pt x="1310398" y="419360"/>
                  <a:pt x="1312298" y="667823"/>
                  <a:pt x="1158360" y="781107"/>
                </a:cubicBezTo>
                <a:cubicBezTo>
                  <a:pt x="1124151" y="806810"/>
                  <a:pt x="1031028" y="835369"/>
                  <a:pt x="1019625" y="851552"/>
                </a:cubicBezTo>
                <a:cubicBezTo>
                  <a:pt x="1012023" y="862024"/>
                  <a:pt x="1012974" y="881063"/>
                  <a:pt x="1025327" y="917238"/>
                </a:cubicBezTo>
                <a:cubicBezTo>
                  <a:pt x="1060486" y="1014339"/>
                  <a:pt x="1022476" y="1043850"/>
                  <a:pt x="952158" y="1039090"/>
                </a:cubicBezTo>
                <a:cubicBezTo>
                  <a:pt x="840981" y="1031474"/>
                  <a:pt x="642381" y="914382"/>
                  <a:pt x="556860" y="846793"/>
                </a:cubicBezTo>
                <a:lnTo>
                  <a:pt x="556860" y="846793"/>
                </a:lnTo>
                <a:close/>
              </a:path>
            </a:pathLst>
          </a:custGeom>
          <a:solidFill>
            <a:schemeClr val="bg1">
              <a:alpha val="19374"/>
            </a:schemeClr>
          </a:solidFill>
          <a:ln w="9502" cap="flat">
            <a:noFill/>
            <a:prstDash val="solid"/>
            <a:miter/>
          </a:ln>
        </p:spPr>
        <p:txBody>
          <a:bodyPr rtlCol="0" anchor="ctr"/>
          <a:lstStyle/>
          <a:p>
            <a:endParaRPr lang="en-US"/>
          </a:p>
        </p:txBody>
      </p:sp>
      <p:sp>
        <p:nvSpPr>
          <p:cNvPr id="38" name="Text Placeholder 32">
            <a:extLst>
              <a:ext uri="{FF2B5EF4-FFF2-40B4-BE49-F238E27FC236}">
                <a16:creationId xmlns:a16="http://schemas.microsoft.com/office/drawing/2014/main" id="{AFC4C041-4471-1645-B54C-0FB50A90D6A6}"/>
              </a:ext>
            </a:extLst>
          </p:cNvPr>
          <p:cNvSpPr>
            <a:spLocks noGrp="1"/>
          </p:cNvSpPr>
          <p:nvPr>
            <p:ph type="body" sz="quarter" idx="11" hasCustomPrompt="1"/>
          </p:nvPr>
        </p:nvSpPr>
        <p:spPr>
          <a:xfrm>
            <a:off x="2203825" y="3231107"/>
            <a:ext cx="648000" cy="348400"/>
          </a:xfrm>
        </p:spPr>
        <p:txBody>
          <a:bodyPr anchor="ctr">
            <a:noAutofit/>
          </a:bodyPr>
          <a:lstStyle>
            <a:lvl1pPr marL="0" indent="0" algn="ctr">
              <a:buNone/>
              <a:defRPr sz="2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01</a:t>
            </a:r>
            <a:endParaRPr lang="en-US" dirty="0"/>
          </a:p>
        </p:txBody>
      </p:sp>
      <p:sp>
        <p:nvSpPr>
          <p:cNvPr id="39" name="Text Placeholder 32">
            <a:extLst>
              <a:ext uri="{FF2B5EF4-FFF2-40B4-BE49-F238E27FC236}">
                <a16:creationId xmlns:a16="http://schemas.microsoft.com/office/drawing/2014/main" id="{84498D42-7EBE-2D45-859D-69134CB9C2D1}"/>
              </a:ext>
            </a:extLst>
          </p:cNvPr>
          <p:cNvSpPr>
            <a:spLocks noGrp="1"/>
          </p:cNvSpPr>
          <p:nvPr>
            <p:ph type="body" sz="quarter" idx="48" hasCustomPrompt="1"/>
          </p:nvPr>
        </p:nvSpPr>
        <p:spPr>
          <a:xfrm>
            <a:off x="2973040" y="3231107"/>
            <a:ext cx="4260036" cy="348400"/>
          </a:xfrm>
        </p:spPr>
        <p:txBody>
          <a:bodyPr anchor="ctr">
            <a:noAutofit/>
          </a:bodyPr>
          <a:lstStyle>
            <a:lvl1pPr marL="0" indent="0" algn="l">
              <a:buNone/>
              <a:defRPr sz="16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40" name="Text Placeholder 32">
            <a:extLst>
              <a:ext uri="{FF2B5EF4-FFF2-40B4-BE49-F238E27FC236}">
                <a16:creationId xmlns:a16="http://schemas.microsoft.com/office/drawing/2014/main" id="{26FF1950-4496-1645-B75F-49EF6F14F04F}"/>
              </a:ext>
            </a:extLst>
          </p:cNvPr>
          <p:cNvSpPr>
            <a:spLocks noGrp="1"/>
          </p:cNvSpPr>
          <p:nvPr>
            <p:ph type="body" sz="quarter" idx="13" hasCustomPrompt="1"/>
          </p:nvPr>
        </p:nvSpPr>
        <p:spPr>
          <a:xfrm>
            <a:off x="2203825" y="3706349"/>
            <a:ext cx="648000" cy="348400"/>
          </a:xfrm>
        </p:spPr>
        <p:txBody>
          <a:bodyPr anchor="ctr">
            <a:noAutofit/>
          </a:bodyPr>
          <a:lstStyle>
            <a:lvl1pPr marL="0" indent="0" algn="ctr">
              <a:buNone/>
              <a:defRPr sz="2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02</a:t>
            </a:r>
            <a:endParaRPr lang="en-US" dirty="0"/>
          </a:p>
        </p:txBody>
      </p:sp>
      <p:sp>
        <p:nvSpPr>
          <p:cNvPr id="41" name="Text Placeholder 32">
            <a:extLst>
              <a:ext uri="{FF2B5EF4-FFF2-40B4-BE49-F238E27FC236}">
                <a16:creationId xmlns:a16="http://schemas.microsoft.com/office/drawing/2014/main" id="{3372917F-6B26-7E44-BE50-63603C24244A}"/>
              </a:ext>
            </a:extLst>
          </p:cNvPr>
          <p:cNvSpPr>
            <a:spLocks noGrp="1"/>
          </p:cNvSpPr>
          <p:nvPr>
            <p:ph type="body" sz="quarter" idx="14" hasCustomPrompt="1"/>
          </p:nvPr>
        </p:nvSpPr>
        <p:spPr>
          <a:xfrm>
            <a:off x="2973040" y="3706349"/>
            <a:ext cx="4260036" cy="348400"/>
          </a:xfrm>
        </p:spPr>
        <p:txBody>
          <a:bodyPr anchor="ctr">
            <a:noAutofit/>
          </a:bodyPr>
          <a:lstStyle>
            <a:lvl1pPr marL="0" indent="0" algn="l">
              <a:buNone/>
              <a:defRPr sz="16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42" name="Text Placeholder 32">
            <a:extLst>
              <a:ext uri="{FF2B5EF4-FFF2-40B4-BE49-F238E27FC236}">
                <a16:creationId xmlns:a16="http://schemas.microsoft.com/office/drawing/2014/main" id="{AF173301-3788-A541-90F5-BC73B536FC86}"/>
              </a:ext>
            </a:extLst>
          </p:cNvPr>
          <p:cNvSpPr>
            <a:spLocks noGrp="1"/>
          </p:cNvSpPr>
          <p:nvPr>
            <p:ph type="body" sz="quarter" idx="15" hasCustomPrompt="1"/>
          </p:nvPr>
        </p:nvSpPr>
        <p:spPr>
          <a:xfrm>
            <a:off x="2203825" y="4222473"/>
            <a:ext cx="648000" cy="348400"/>
          </a:xfrm>
        </p:spPr>
        <p:txBody>
          <a:bodyPr anchor="ctr">
            <a:noAutofit/>
          </a:bodyPr>
          <a:lstStyle>
            <a:lvl1pPr marL="0" indent="0" algn="ctr">
              <a:buNone/>
              <a:defRPr sz="2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03</a:t>
            </a:r>
            <a:endParaRPr lang="en-US" dirty="0"/>
          </a:p>
        </p:txBody>
      </p:sp>
      <p:sp>
        <p:nvSpPr>
          <p:cNvPr id="43" name="Text Placeholder 32">
            <a:extLst>
              <a:ext uri="{FF2B5EF4-FFF2-40B4-BE49-F238E27FC236}">
                <a16:creationId xmlns:a16="http://schemas.microsoft.com/office/drawing/2014/main" id="{F2F6DF8D-9960-794E-9897-1F6A288616B6}"/>
              </a:ext>
            </a:extLst>
          </p:cNvPr>
          <p:cNvSpPr>
            <a:spLocks noGrp="1"/>
          </p:cNvSpPr>
          <p:nvPr>
            <p:ph type="body" sz="quarter" idx="19" hasCustomPrompt="1"/>
          </p:nvPr>
        </p:nvSpPr>
        <p:spPr>
          <a:xfrm>
            <a:off x="2973040" y="4222473"/>
            <a:ext cx="4260036" cy="348400"/>
          </a:xfrm>
        </p:spPr>
        <p:txBody>
          <a:bodyPr anchor="ctr">
            <a:noAutofit/>
          </a:bodyPr>
          <a:lstStyle>
            <a:lvl1pPr marL="0" indent="0" algn="l">
              <a:buNone/>
              <a:defRPr sz="16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44" name="Text Placeholder 32">
            <a:extLst>
              <a:ext uri="{FF2B5EF4-FFF2-40B4-BE49-F238E27FC236}">
                <a16:creationId xmlns:a16="http://schemas.microsoft.com/office/drawing/2014/main" id="{DECEE95D-DA36-FC47-8C29-431CF7E005BF}"/>
              </a:ext>
            </a:extLst>
          </p:cNvPr>
          <p:cNvSpPr>
            <a:spLocks noGrp="1"/>
          </p:cNvSpPr>
          <p:nvPr>
            <p:ph type="body" sz="quarter" idx="17" hasCustomPrompt="1"/>
          </p:nvPr>
        </p:nvSpPr>
        <p:spPr>
          <a:xfrm>
            <a:off x="2203825" y="4708438"/>
            <a:ext cx="648000" cy="348400"/>
          </a:xfrm>
        </p:spPr>
        <p:txBody>
          <a:bodyPr anchor="ctr">
            <a:noAutofit/>
          </a:bodyPr>
          <a:lstStyle>
            <a:lvl1pPr marL="0" indent="0" algn="ctr">
              <a:buNone/>
              <a:defRPr sz="2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04</a:t>
            </a:r>
            <a:endParaRPr lang="en-US" dirty="0"/>
          </a:p>
        </p:txBody>
      </p:sp>
      <p:sp>
        <p:nvSpPr>
          <p:cNvPr id="45" name="Text Placeholder 32">
            <a:extLst>
              <a:ext uri="{FF2B5EF4-FFF2-40B4-BE49-F238E27FC236}">
                <a16:creationId xmlns:a16="http://schemas.microsoft.com/office/drawing/2014/main" id="{6A395E06-9B02-644F-9C08-C998D6E7DCFC}"/>
              </a:ext>
            </a:extLst>
          </p:cNvPr>
          <p:cNvSpPr>
            <a:spLocks noGrp="1"/>
          </p:cNvSpPr>
          <p:nvPr>
            <p:ph type="body" sz="quarter" idx="20" hasCustomPrompt="1"/>
          </p:nvPr>
        </p:nvSpPr>
        <p:spPr>
          <a:xfrm>
            <a:off x="2973040" y="4708438"/>
            <a:ext cx="4260036" cy="348400"/>
          </a:xfrm>
        </p:spPr>
        <p:txBody>
          <a:bodyPr anchor="ctr">
            <a:noAutofit/>
          </a:bodyPr>
          <a:lstStyle>
            <a:lvl1pPr marL="0" indent="0" algn="l">
              <a:buNone/>
              <a:defRPr sz="16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48" name="Graphic 317">
            <a:extLst>
              <a:ext uri="{FF2B5EF4-FFF2-40B4-BE49-F238E27FC236}">
                <a16:creationId xmlns:a16="http://schemas.microsoft.com/office/drawing/2014/main" id="{50AC76A7-F1F5-854F-ABC4-3BA775EB48FC}"/>
              </a:ext>
            </a:extLst>
          </p:cNvPr>
          <p:cNvSpPr/>
          <p:nvPr userDrawn="1"/>
        </p:nvSpPr>
        <p:spPr>
          <a:xfrm rot="10800000">
            <a:off x="-1" y="2195796"/>
            <a:ext cx="2955366" cy="8503489"/>
          </a:xfrm>
          <a:custGeom>
            <a:avLst/>
            <a:gdLst>
              <a:gd name="connsiteX0" fmla="*/ 1268454 w 1268453"/>
              <a:gd name="connsiteY0" fmla="*/ 0 h 3649726"/>
              <a:gd name="connsiteX1" fmla="*/ 312022 w 1268453"/>
              <a:gd name="connsiteY1" fmla="*/ 0 h 3649726"/>
              <a:gd name="connsiteX2" fmla="*/ 0 w 1268453"/>
              <a:gd name="connsiteY2" fmla="*/ 1291780 h 3649726"/>
              <a:gd name="connsiteX3" fmla="*/ 1268454 w 1268453"/>
              <a:gd name="connsiteY3" fmla="*/ 3649727 h 3649726"/>
              <a:gd name="connsiteX4" fmla="*/ 1268454 w 1268453"/>
              <a:gd name="connsiteY4" fmla="*/ 0 h 36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453" h="3649726">
                <a:moveTo>
                  <a:pt x="1268454" y="0"/>
                </a:moveTo>
                <a:lnTo>
                  <a:pt x="312022" y="0"/>
                </a:lnTo>
                <a:cubicBezTo>
                  <a:pt x="112425" y="386882"/>
                  <a:pt x="0" y="825892"/>
                  <a:pt x="0" y="1291780"/>
                </a:cubicBezTo>
                <a:cubicBezTo>
                  <a:pt x="0" y="2276498"/>
                  <a:pt x="504286" y="3143929"/>
                  <a:pt x="1268454" y="3649727"/>
                </a:cubicBezTo>
                <a:lnTo>
                  <a:pt x="1268454" y="0"/>
                </a:lnTo>
                <a:close/>
              </a:path>
            </a:pathLst>
          </a:custGeom>
          <a:noFill/>
          <a:ln w="8132" cap="flat">
            <a:noFill/>
            <a:prstDash val="solid"/>
            <a:miter/>
          </a:ln>
          <a:effectLst>
            <a:innerShdw blurRad="495300" dist="203200" dir="12720000">
              <a:prstClr val="black">
                <a:alpha val="34000"/>
              </a:prstClr>
            </a:innerShdw>
          </a:effectLst>
        </p:spPr>
        <p:txBody>
          <a:bodyPr rtlCol="0" anchor="ctr"/>
          <a:lstStyle/>
          <a:p>
            <a:endParaRPr lang="en-US">
              <a:latin typeface="Calibri" panose="020F0502020204030204" pitchFamily="34" charset="0"/>
              <a:cs typeface="Calibri" panose="020F0502020204030204" pitchFamily="34" charset="0"/>
            </a:endParaRPr>
          </a:p>
        </p:txBody>
      </p:sp>
      <p:sp>
        <p:nvSpPr>
          <p:cNvPr id="50" name="Rectangle 49">
            <a:extLst>
              <a:ext uri="{FF2B5EF4-FFF2-40B4-BE49-F238E27FC236}">
                <a16:creationId xmlns:a16="http://schemas.microsoft.com/office/drawing/2014/main" id="{EB5A765F-5909-294C-880F-7DE7AA4C4233}"/>
              </a:ext>
            </a:extLst>
          </p:cNvPr>
          <p:cNvSpPr/>
          <p:nvPr userDrawn="1"/>
        </p:nvSpPr>
        <p:spPr>
          <a:xfrm>
            <a:off x="264671" y="7671749"/>
            <a:ext cx="2617035" cy="407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54" name="Freeform 53">
            <a:extLst>
              <a:ext uri="{FF2B5EF4-FFF2-40B4-BE49-F238E27FC236}">
                <a16:creationId xmlns:a16="http://schemas.microsoft.com/office/drawing/2014/main" id="{31C4C69A-F0F1-F846-B3C6-B2150ED6A591}"/>
              </a:ext>
            </a:extLst>
          </p:cNvPr>
          <p:cNvSpPr>
            <a:spLocks noChangeAspect="1"/>
          </p:cNvSpPr>
          <p:nvPr userDrawn="1"/>
        </p:nvSpPr>
        <p:spPr>
          <a:xfrm>
            <a:off x="17775" y="1199068"/>
            <a:ext cx="7560000" cy="720752"/>
          </a:xfrm>
          <a:custGeom>
            <a:avLst/>
            <a:gdLst>
              <a:gd name="connsiteX0" fmla="*/ 0 w 7530847"/>
              <a:gd name="connsiteY0" fmla="*/ 717973 h 717972"/>
              <a:gd name="connsiteX1" fmla="*/ 0 w 7530847"/>
              <a:gd name="connsiteY1" fmla="*/ 0 h 717972"/>
              <a:gd name="connsiteX2" fmla="*/ 7143771 w 7530847"/>
              <a:gd name="connsiteY2" fmla="*/ 0 h 717972"/>
              <a:gd name="connsiteX3" fmla="*/ 7530848 w 7530847"/>
              <a:gd name="connsiteY3" fmla="*/ 387166 h 717972"/>
              <a:gd name="connsiteX4" fmla="*/ 7530848 w 7530847"/>
              <a:gd name="connsiteY4" fmla="*/ 715523 h 717972"/>
              <a:gd name="connsiteX5" fmla="*/ 0 w 7530847"/>
              <a:gd name="connsiteY5" fmla="*/ 715523 h 71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0847" h="717972">
                <a:moveTo>
                  <a:pt x="0" y="717973"/>
                </a:moveTo>
                <a:lnTo>
                  <a:pt x="0" y="0"/>
                </a:lnTo>
                <a:lnTo>
                  <a:pt x="7143771" y="0"/>
                </a:lnTo>
                <a:cubicBezTo>
                  <a:pt x="7356909" y="0"/>
                  <a:pt x="7530848" y="173980"/>
                  <a:pt x="7530848" y="387166"/>
                </a:cubicBezTo>
                <a:lnTo>
                  <a:pt x="7530848" y="715523"/>
                </a:lnTo>
                <a:lnTo>
                  <a:pt x="0" y="715523"/>
                </a:lnTo>
                <a:close/>
              </a:path>
            </a:pathLst>
          </a:custGeom>
          <a:gradFill>
            <a:gsLst>
              <a:gs pos="0">
                <a:srgbClr val="E8068C"/>
              </a:gs>
              <a:gs pos="100000">
                <a:srgbClr val="22BDBF"/>
              </a:gs>
              <a:gs pos="45000">
                <a:srgbClr val="3C3795"/>
              </a:gs>
            </a:gsLst>
            <a:lin ang="0" scaled="0"/>
          </a:gradFill>
          <a:ln w="24491" cap="flat">
            <a:noFill/>
            <a:prstDash val="solid"/>
            <a:miter/>
          </a:ln>
        </p:spPr>
        <p:txBody>
          <a:bodyPr rtlCol="0" anchor="ctr"/>
          <a:lstStyle/>
          <a:p>
            <a:endParaRPr lang="en-US"/>
          </a:p>
        </p:txBody>
      </p:sp>
      <p:sp>
        <p:nvSpPr>
          <p:cNvPr id="55" name="Text Placeholder 32">
            <a:extLst>
              <a:ext uri="{FF2B5EF4-FFF2-40B4-BE49-F238E27FC236}">
                <a16:creationId xmlns:a16="http://schemas.microsoft.com/office/drawing/2014/main" id="{2F2AC1C0-6F40-D744-9AE1-2ADFCC2B41C3}"/>
              </a:ext>
            </a:extLst>
          </p:cNvPr>
          <p:cNvSpPr>
            <a:spLocks noGrp="1"/>
          </p:cNvSpPr>
          <p:nvPr>
            <p:ph type="body" sz="quarter" idx="47" hasCustomPrompt="1"/>
          </p:nvPr>
        </p:nvSpPr>
        <p:spPr>
          <a:xfrm>
            <a:off x="466929" y="1139880"/>
            <a:ext cx="6815990" cy="1070954"/>
          </a:xfrm>
        </p:spPr>
        <p:txBody>
          <a:bodyPr>
            <a:noAutofit/>
          </a:bodyPr>
          <a:lstStyle>
            <a:lvl1pPr marL="0" indent="0" algn="l">
              <a:buNone/>
              <a:defRPr sz="55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ontents</a:t>
            </a:r>
            <a:endParaRPr lang="en-US" dirty="0"/>
          </a:p>
        </p:txBody>
      </p:sp>
      <p:sp>
        <p:nvSpPr>
          <p:cNvPr id="70" name="Text Placeholder 32">
            <a:extLst>
              <a:ext uri="{FF2B5EF4-FFF2-40B4-BE49-F238E27FC236}">
                <a16:creationId xmlns:a16="http://schemas.microsoft.com/office/drawing/2014/main" id="{56631D66-C58B-0746-8216-946534D113C1}"/>
              </a:ext>
            </a:extLst>
          </p:cNvPr>
          <p:cNvSpPr>
            <a:spLocks noGrp="1"/>
          </p:cNvSpPr>
          <p:nvPr>
            <p:ph type="body" sz="quarter" idx="51" hasCustomPrompt="1"/>
          </p:nvPr>
        </p:nvSpPr>
        <p:spPr>
          <a:xfrm>
            <a:off x="2209998" y="5182694"/>
            <a:ext cx="648000" cy="348400"/>
          </a:xfrm>
        </p:spPr>
        <p:txBody>
          <a:bodyPr anchor="ctr">
            <a:noAutofit/>
          </a:bodyPr>
          <a:lstStyle>
            <a:lvl1pPr marL="0" indent="0" algn="ctr">
              <a:buNone/>
              <a:defRPr sz="2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05</a:t>
            </a:r>
            <a:endParaRPr lang="en-US" dirty="0"/>
          </a:p>
        </p:txBody>
      </p:sp>
      <p:sp>
        <p:nvSpPr>
          <p:cNvPr id="71" name="Text Placeholder 32">
            <a:extLst>
              <a:ext uri="{FF2B5EF4-FFF2-40B4-BE49-F238E27FC236}">
                <a16:creationId xmlns:a16="http://schemas.microsoft.com/office/drawing/2014/main" id="{8C696F4C-F102-3742-9AD7-77D3C0C4D464}"/>
              </a:ext>
            </a:extLst>
          </p:cNvPr>
          <p:cNvSpPr>
            <a:spLocks noGrp="1"/>
          </p:cNvSpPr>
          <p:nvPr>
            <p:ph type="body" sz="quarter" idx="52" hasCustomPrompt="1"/>
          </p:nvPr>
        </p:nvSpPr>
        <p:spPr>
          <a:xfrm>
            <a:off x="2979213" y="5182694"/>
            <a:ext cx="4260036" cy="348400"/>
          </a:xfrm>
        </p:spPr>
        <p:txBody>
          <a:bodyPr anchor="ctr">
            <a:noAutofit/>
          </a:bodyPr>
          <a:lstStyle>
            <a:lvl1pPr marL="0" indent="0" algn="l">
              <a:buNone/>
              <a:defRPr sz="16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sp>
        <p:nvSpPr>
          <p:cNvPr id="72" name="Text Placeholder 32">
            <a:extLst>
              <a:ext uri="{FF2B5EF4-FFF2-40B4-BE49-F238E27FC236}">
                <a16:creationId xmlns:a16="http://schemas.microsoft.com/office/drawing/2014/main" id="{A6EB5CCC-B9E9-DE43-8D10-0F1693D4BF78}"/>
              </a:ext>
            </a:extLst>
          </p:cNvPr>
          <p:cNvSpPr>
            <a:spLocks noGrp="1"/>
          </p:cNvSpPr>
          <p:nvPr>
            <p:ph type="body" sz="quarter" idx="53" hasCustomPrompt="1"/>
          </p:nvPr>
        </p:nvSpPr>
        <p:spPr>
          <a:xfrm>
            <a:off x="2209998" y="5698818"/>
            <a:ext cx="648000" cy="348400"/>
          </a:xfrm>
        </p:spPr>
        <p:txBody>
          <a:bodyPr anchor="ctr">
            <a:noAutofit/>
          </a:bodyPr>
          <a:lstStyle>
            <a:lvl1pPr marL="0" indent="0" algn="ctr">
              <a:buNone/>
              <a:defRPr sz="2000" b="1"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06</a:t>
            </a:r>
            <a:endParaRPr lang="en-US" dirty="0"/>
          </a:p>
        </p:txBody>
      </p:sp>
      <p:sp>
        <p:nvSpPr>
          <p:cNvPr id="73" name="Text Placeholder 32">
            <a:extLst>
              <a:ext uri="{FF2B5EF4-FFF2-40B4-BE49-F238E27FC236}">
                <a16:creationId xmlns:a16="http://schemas.microsoft.com/office/drawing/2014/main" id="{8E51EA93-5941-C648-8A68-88A6181DB77B}"/>
              </a:ext>
            </a:extLst>
          </p:cNvPr>
          <p:cNvSpPr>
            <a:spLocks noGrp="1"/>
          </p:cNvSpPr>
          <p:nvPr>
            <p:ph type="body" sz="quarter" idx="54" hasCustomPrompt="1"/>
          </p:nvPr>
        </p:nvSpPr>
        <p:spPr>
          <a:xfrm>
            <a:off x="2979213" y="5698818"/>
            <a:ext cx="4260036" cy="348400"/>
          </a:xfrm>
        </p:spPr>
        <p:txBody>
          <a:bodyPr anchor="ctr">
            <a:noAutofit/>
          </a:bodyPr>
          <a:lstStyle>
            <a:lvl1pPr marL="0" indent="0" algn="l">
              <a:buNone/>
              <a:defRPr sz="16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vl2pPr marL="385602" indent="0">
              <a:buNone/>
              <a:defRPr sz="3265">
                <a:solidFill>
                  <a:srgbClr val="011E3B"/>
                </a:solidFill>
                <a:latin typeface="Montserrat" pitchFamily="2" charset="77"/>
              </a:defRPr>
            </a:lvl2pPr>
            <a:lvl3pPr marL="771204" indent="0">
              <a:buNone/>
              <a:defRPr sz="3265">
                <a:solidFill>
                  <a:srgbClr val="011E3B"/>
                </a:solidFill>
                <a:latin typeface="Montserrat" pitchFamily="2" charset="77"/>
              </a:defRPr>
            </a:lvl3pPr>
            <a:lvl4pPr marL="1156806" indent="0">
              <a:buNone/>
              <a:defRPr sz="3265">
                <a:solidFill>
                  <a:srgbClr val="011E3B"/>
                </a:solidFill>
                <a:latin typeface="Montserrat" pitchFamily="2" charset="77"/>
              </a:defRPr>
            </a:lvl4pPr>
            <a:lvl5pPr marL="1542409" indent="0">
              <a:buNone/>
              <a:defRPr sz="3265">
                <a:solidFill>
                  <a:srgbClr val="011E3B"/>
                </a:solidFill>
                <a:latin typeface="Montserrat" pitchFamily="2" charset="77"/>
              </a:defRPr>
            </a:lvl5pPr>
          </a:lstStyle>
          <a:p>
            <a:pPr lvl="0"/>
            <a:r>
              <a:rPr lang="en-GB" dirty="0"/>
              <a:t>Title</a:t>
            </a:r>
            <a:endParaRPr lang="en-US" dirty="0"/>
          </a:p>
        </p:txBody>
      </p:sp>
      <p:grpSp>
        <p:nvGrpSpPr>
          <p:cNvPr id="2" name="Group 1">
            <a:extLst>
              <a:ext uri="{FF2B5EF4-FFF2-40B4-BE49-F238E27FC236}">
                <a16:creationId xmlns:a16="http://schemas.microsoft.com/office/drawing/2014/main" id="{6628229C-D4D3-50EF-8C52-DA79A158938A}"/>
              </a:ext>
            </a:extLst>
          </p:cNvPr>
          <p:cNvGrpSpPr/>
          <p:nvPr userDrawn="1"/>
        </p:nvGrpSpPr>
        <p:grpSpPr>
          <a:xfrm>
            <a:off x="2203825" y="3636657"/>
            <a:ext cx="5040000" cy="1476345"/>
            <a:chOff x="2083799" y="3965406"/>
            <a:chExt cx="5040000" cy="1476345"/>
          </a:xfrm>
        </p:grpSpPr>
        <p:cxnSp>
          <p:nvCxnSpPr>
            <p:cNvPr id="3" name="Straight Connector 2">
              <a:extLst>
                <a:ext uri="{FF2B5EF4-FFF2-40B4-BE49-F238E27FC236}">
                  <a16:creationId xmlns:a16="http://schemas.microsoft.com/office/drawing/2014/main" id="{38AFE722-994A-2C43-8F0D-18DA99890C3D}"/>
                </a:ext>
              </a:extLst>
            </p:cNvPr>
            <p:cNvCxnSpPr>
              <a:cxnSpLocks/>
            </p:cNvCxnSpPr>
            <p:nvPr userDrawn="1"/>
          </p:nvCxnSpPr>
          <p:spPr>
            <a:xfrm flipH="1">
              <a:off x="2083799" y="3965406"/>
              <a:ext cx="5040000" cy="0"/>
            </a:xfrm>
            <a:prstGeom prst="line">
              <a:avLst/>
            </a:prstGeom>
            <a:ln w="12700">
              <a:solidFill>
                <a:srgbClr val="22BDB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DB27BDE-51AC-8246-912E-0BCBB4C083BA}"/>
                </a:ext>
              </a:extLst>
            </p:cNvPr>
            <p:cNvCxnSpPr>
              <a:cxnSpLocks/>
            </p:cNvCxnSpPr>
            <p:nvPr userDrawn="1"/>
          </p:nvCxnSpPr>
          <p:spPr>
            <a:xfrm flipH="1">
              <a:off x="2083799" y="4471097"/>
              <a:ext cx="5040000" cy="0"/>
            </a:xfrm>
            <a:prstGeom prst="line">
              <a:avLst/>
            </a:prstGeom>
            <a:ln w="12700">
              <a:solidFill>
                <a:srgbClr val="22BDBF"/>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DA1FF14-6A24-B347-BBFC-A3F15D881E93}"/>
                </a:ext>
              </a:extLst>
            </p:cNvPr>
            <p:cNvCxnSpPr>
              <a:cxnSpLocks/>
            </p:cNvCxnSpPr>
            <p:nvPr userDrawn="1"/>
          </p:nvCxnSpPr>
          <p:spPr>
            <a:xfrm flipH="1">
              <a:off x="2083799" y="4967911"/>
              <a:ext cx="5040000" cy="0"/>
            </a:xfrm>
            <a:prstGeom prst="line">
              <a:avLst/>
            </a:prstGeom>
            <a:ln w="12700">
              <a:solidFill>
                <a:srgbClr val="22BDBF"/>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91A824B-2F0F-974B-810C-0DE26718806E}"/>
                </a:ext>
              </a:extLst>
            </p:cNvPr>
            <p:cNvCxnSpPr>
              <a:cxnSpLocks/>
            </p:cNvCxnSpPr>
            <p:nvPr userDrawn="1"/>
          </p:nvCxnSpPr>
          <p:spPr>
            <a:xfrm flipH="1">
              <a:off x="2083799" y="5441751"/>
              <a:ext cx="5040000" cy="0"/>
            </a:xfrm>
            <a:prstGeom prst="line">
              <a:avLst/>
            </a:prstGeom>
            <a:ln w="12700">
              <a:solidFill>
                <a:srgbClr val="22BDBF"/>
              </a:solidFill>
            </a:ln>
          </p:spPr>
          <p:style>
            <a:lnRef idx="1">
              <a:schemeClr val="accent1"/>
            </a:lnRef>
            <a:fillRef idx="0">
              <a:schemeClr val="accent1"/>
            </a:fillRef>
            <a:effectRef idx="0">
              <a:schemeClr val="accent1"/>
            </a:effectRef>
            <a:fontRef idx="minor">
              <a:schemeClr val="tx1"/>
            </a:fontRef>
          </p:style>
        </p:cxnSp>
      </p:grpSp>
      <p:pic>
        <p:nvPicPr>
          <p:cNvPr id="4" name="Picture 3" descr="Co-funded by the European Union logo in png for web usage">
            <a:extLst>
              <a:ext uri="{FF2B5EF4-FFF2-40B4-BE49-F238E27FC236}">
                <a16:creationId xmlns:a16="http://schemas.microsoft.com/office/drawing/2014/main" id="{34EB986D-61E1-CDD8-0CA6-C409FABF3C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2556" y="7738508"/>
            <a:ext cx="1310058" cy="273674"/>
          </a:xfrm>
          <a:prstGeom prst="rect">
            <a:avLst/>
          </a:prstGeom>
          <a:noFill/>
          <a:ln>
            <a:noFill/>
          </a:ln>
        </p:spPr>
      </p:pic>
      <p:sp>
        <p:nvSpPr>
          <p:cNvPr id="6" name="Rectangle 5">
            <a:extLst>
              <a:ext uri="{FF2B5EF4-FFF2-40B4-BE49-F238E27FC236}">
                <a16:creationId xmlns:a16="http://schemas.microsoft.com/office/drawing/2014/main" id="{4A749080-0858-8B77-6386-A790AF765BDF}"/>
              </a:ext>
            </a:extLst>
          </p:cNvPr>
          <p:cNvSpPr/>
          <p:nvPr userDrawn="1"/>
        </p:nvSpPr>
        <p:spPr>
          <a:xfrm>
            <a:off x="3084988" y="7689268"/>
            <a:ext cx="4197931" cy="541174"/>
          </a:xfrm>
          <a:prstGeom prst="rect">
            <a:avLst/>
          </a:prstGeom>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620" kern="1200" dirty="0">
                <a:solidFill>
                  <a:srgbClr val="3A3953"/>
                </a:solidFill>
                <a:effectLst/>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the European Education and Culture Executive Agency (EACEA). Neither the European Union nor EACEA can be held responsible for them.</a:t>
            </a:r>
          </a:p>
          <a:p>
            <a:pPr marL="0" marR="0" indent="0" algn="just" defTabSz="457200" rtl="0" eaLnBrk="1" fontAlgn="auto" latinLnBrk="0" hangingPunct="0">
              <a:lnSpc>
                <a:spcPts val="660"/>
              </a:lnSpc>
              <a:spcBef>
                <a:spcPts val="0"/>
              </a:spcBef>
              <a:spcAft>
                <a:spcPts val="0"/>
              </a:spcAft>
              <a:buClrTx/>
              <a:buSzTx/>
              <a:buFontTx/>
              <a:buNone/>
              <a:tabLst/>
              <a:defRPr/>
            </a:pPr>
            <a:endParaRPr lang="en-US" sz="620" kern="1200" dirty="0">
              <a:solidFill>
                <a:srgbClr val="3A3953"/>
              </a:solidFill>
              <a:effectLst/>
              <a:latin typeface="Calibri" panose="020F0502020204030204" pitchFamily="34" charset="0"/>
              <a:ea typeface="Open Sans" panose="020B0606030504020204" pitchFamily="34" charset="0"/>
              <a:cs typeface="Calibri" panose="020F0502020204030204" pitchFamily="34" charset="0"/>
            </a:endParaRPr>
          </a:p>
          <a:p>
            <a:pPr marL="0" marR="0" indent="0" algn="just" defTabSz="457200" rtl="0" eaLnBrk="1" fontAlgn="auto" latinLnBrk="0" hangingPunct="0">
              <a:lnSpc>
                <a:spcPts val="660"/>
              </a:lnSpc>
              <a:spcBef>
                <a:spcPts val="0"/>
              </a:spcBef>
              <a:spcAft>
                <a:spcPts val="0"/>
              </a:spcAft>
              <a:buClrTx/>
              <a:buSzTx/>
              <a:buFontTx/>
              <a:buNone/>
              <a:tabLst/>
              <a:defRPr/>
            </a:pPr>
            <a:r>
              <a:rPr lang="en-US" sz="62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Ethical AI Fundamentals Guide © 2025 by VALUES is licensed under </a:t>
            </a:r>
            <a:r>
              <a:rPr lang="en-US" sz="62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3"/>
              </a:rPr>
              <a:t>CC BY 4.0 </a:t>
            </a:r>
            <a:endParaRPr lang="en-IE" sz="62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3EFA0F82-3ECC-974F-1158-96B1F697C347}"/>
              </a:ext>
            </a:extLst>
          </p:cNvPr>
          <p:cNvPicPr>
            <a:picLocks noChangeAspect="1"/>
          </p:cNvPicPr>
          <p:nvPr userDrawn="1"/>
        </p:nvPicPr>
        <p:blipFill>
          <a:blip r:embed="rId4"/>
          <a:stretch>
            <a:fillRect/>
          </a:stretch>
        </p:blipFill>
        <p:spPr>
          <a:xfrm>
            <a:off x="466929" y="7714534"/>
            <a:ext cx="921007" cy="321622"/>
          </a:xfrm>
          <a:prstGeom prst="rect">
            <a:avLst/>
          </a:prstGeom>
        </p:spPr>
      </p:pic>
    </p:spTree>
    <p:extLst>
      <p:ext uri="{BB962C8B-B14F-4D97-AF65-F5344CB8AC3E}">
        <p14:creationId xmlns:p14="http://schemas.microsoft.com/office/powerpoint/2010/main" val="2027216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1" name="Text Placeholder 32">
            <a:extLst>
              <a:ext uri="{FF2B5EF4-FFF2-40B4-BE49-F238E27FC236}">
                <a16:creationId xmlns:a16="http://schemas.microsoft.com/office/drawing/2014/main" id="{D37EB16C-F26A-5148-9329-CE588D03DB78}"/>
              </a:ext>
            </a:extLst>
          </p:cNvPr>
          <p:cNvSpPr>
            <a:spLocks noGrp="1"/>
          </p:cNvSpPr>
          <p:nvPr>
            <p:ph type="body" sz="quarter" idx="32" hasCustomPrompt="1"/>
          </p:nvPr>
        </p:nvSpPr>
        <p:spPr>
          <a:xfrm>
            <a:off x="465818" y="4000500"/>
            <a:ext cx="6526988" cy="4857750"/>
          </a:xfrm>
          <a:prstGeom prst="rect">
            <a:avLst/>
          </a:prstGeom>
        </p:spPr>
        <p:txBody>
          <a:bodyPr numCol="2" spcCol="288000" anchor="t">
            <a:noAutofit/>
          </a:bodyPr>
          <a:lstStyle>
            <a:lvl1pPr marL="0" indent="0" algn="just">
              <a:lnSpc>
                <a:spcPct val="100000"/>
              </a:lnSpc>
              <a:spcBef>
                <a:spcPts val="0"/>
              </a:spcBef>
              <a:buNone/>
              <a:defRPr sz="1100" b="0" i="0">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30" name="Slide Number Placeholder 5">
            <a:extLst>
              <a:ext uri="{FF2B5EF4-FFF2-40B4-BE49-F238E27FC236}">
                <a16:creationId xmlns:a16="http://schemas.microsoft.com/office/drawing/2014/main" id="{75459999-0DCD-1542-8E46-CB0611A745A2}"/>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33" name="Freeform 32">
            <a:extLst>
              <a:ext uri="{FF2B5EF4-FFF2-40B4-BE49-F238E27FC236}">
                <a16:creationId xmlns:a16="http://schemas.microsoft.com/office/drawing/2014/main" id="{EE9FA0DD-9E72-8040-B57C-5DEB3A06C91B}"/>
              </a:ext>
            </a:extLst>
          </p:cNvPr>
          <p:cNvSpPr/>
          <p:nvPr userDrawn="1"/>
        </p:nvSpPr>
        <p:spPr>
          <a:xfrm>
            <a:off x="0" y="915871"/>
            <a:ext cx="5834994" cy="715523"/>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gradFill>
            <a:gsLst>
              <a:gs pos="0">
                <a:srgbClr val="E8068C"/>
              </a:gs>
              <a:gs pos="100000">
                <a:srgbClr val="22BDBF"/>
              </a:gs>
              <a:gs pos="45000">
                <a:srgbClr val="3C379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36" name="Text Placeholder 32">
            <a:extLst>
              <a:ext uri="{FF2B5EF4-FFF2-40B4-BE49-F238E27FC236}">
                <a16:creationId xmlns:a16="http://schemas.microsoft.com/office/drawing/2014/main" id="{AC368E38-E328-E144-BE87-9FB9A21078A9}"/>
              </a:ext>
            </a:extLst>
          </p:cNvPr>
          <p:cNvSpPr>
            <a:spLocks noGrp="1"/>
          </p:cNvSpPr>
          <p:nvPr>
            <p:ph type="body" sz="quarter" idx="30" hasCustomPrompt="1"/>
          </p:nvPr>
        </p:nvSpPr>
        <p:spPr>
          <a:xfrm>
            <a:off x="437243" y="1057552"/>
            <a:ext cx="6570888" cy="785535"/>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2" name="Text Placeholder 32">
            <a:extLst>
              <a:ext uri="{FF2B5EF4-FFF2-40B4-BE49-F238E27FC236}">
                <a16:creationId xmlns:a16="http://schemas.microsoft.com/office/drawing/2014/main" id="{AA1DDF75-905B-CBCF-3362-CD52E9980F84}"/>
              </a:ext>
            </a:extLst>
          </p:cNvPr>
          <p:cNvSpPr>
            <a:spLocks noGrp="1"/>
          </p:cNvSpPr>
          <p:nvPr>
            <p:ph type="body" sz="quarter" idx="34" hasCustomPrompt="1"/>
          </p:nvPr>
        </p:nvSpPr>
        <p:spPr>
          <a:xfrm>
            <a:off x="502812" y="2317764"/>
            <a:ext cx="6526638" cy="1196961"/>
          </a:xfrm>
          <a:prstGeom prst="rect">
            <a:avLst/>
          </a:prstGeom>
        </p:spPr>
        <p:txBody>
          <a:bodyPr>
            <a:noAutofit/>
          </a:bodyPr>
          <a:lstStyle>
            <a:lvl1pPr marL="0" indent="0" algn="l">
              <a:buNone/>
              <a:defRPr sz="1600" b="0" i="1">
                <a:solidFill>
                  <a:srgbClr val="10153D"/>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Sub-Heading</a:t>
            </a:r>
            <a:endParaRPr lang="en-US" dirty="0"/>
          </a:p>
        </p:txBody>
      </p:sp>
    </p:spTree>
    <p:extLst>
      <p:ext uri="{BB962C8B-B14F-4D97-AF65-F5344CB8AC3E}">
        <p14:creationId xmlns:p14="http://schemas.microsoft.com/office/powerpoint/2010/main" val="3577585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photo slide 1">
    <p:spTree>
      <p:nvGrpSpPr>
        <p:cNvPr id="1" name=""/>
        <p:cNvGrpSpPr/>
        <p:nvPr/>
      </p:nvGrpSpPr>
      <p:grpSpPr>
        <a:xfrm>
          <a:off x="0" y="0"/>
          <a:ext cx="0" cy="0"/>
          <a:chOff x="0" y="0"/>
          <a:chExt cx="0" cy="0"/>
        </a:xfrm>
      </p:grpSpPr>
      <p:sp>
        <p:nvSpPr>
          <p:cNvPr id="158" name="Freeform 157">
            <a:extLst>
              <a:ext uri="{FF2B5EF4-FFF2-40B4-BE49-F238E27FC236}">
                <a16:creationId xmlns:a16="http://schemas.microsoft.com/office/drawing/2014/main" id="{D603D9D3-F8C1-014C-A1BA-CC98725548E8}"/>
              </a:ext>
            </a:extLst>
          </p:cNvPr>
          <p:cNvSpPr/>
          <p:nvPr userDrawn="1"/>
        </p:nvSpPr>
        <p:spPr>
          <a:xfrm>
            <a:off x="326600" y="583660"/>
            <a:ext cx="3710562" cy="940011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156" name="Slide Number Placeholder 5">
            <a:extLst>
              <a:ext uri="{FF2B5EF4-FFF2-40B4-BE49-F238E27FC236}">
                <a16:creationId xmlns:a16="http://schemas.microsoft.com/office/drawing/2014/main" id="{10FCBF50-D159-4B46-ACA6-F3FCADA6E351}"/>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12" name="Picture Placeholder 11">
            <a:extLst>
              <a:ext uri="{FF2B5EF4-FFF2-40B4-BE49-F238E27FC236}">
                <a16:creationId xmlns:a16="http://schemas.microsoft.com/office/drawing/2014/main" id="{6D93B822-7E81-5641-A50D-230B755C3AA1}"/>
              </a:ext>
            </a:extLst>
          </p:cNvPr>
          <p:cNvSpPr>
            <a:spLocks noGrp="1"/>
          </p:cNvSpPr>
          <p:nvPr>
            <p:ph type="pic" sz="quarter" idx="42"/>
          </p:nvPr>
        </p:nvSpPr>
        <p:spPr>
          <a:xfrm>
            <a:off x="31548" y="3967810"/>
            <a:ext cx="5759652" cy="5171308"/>
          </a:xfrm>
          <a:custGeom>
            <a:avLst/>
            <a:gdLst>
              <a:gd name="connsiteX0" fmla="*/ 0 w 6056028"/>
              <a:gd name="connsiteY0" fmla="*/ 0 h 5437409"/>
              <a:gd name="connsiteX1" fmla="*/ 5002966 w 6056028"/>
              <a:gd name="connsiteY1" fmla="*/ 0 h 5437409"/>
              <a:gd name="connsiteX2" fmla="*/ 6056028 w 6056028"/>
              <a:gd name="connsiteY2" fmla="*/ 1052759 h 5437409"/>
              <a:gd name="connsiteX3" fmla="*/ 6056028 w 6056028"/>
              <a:gd name="connsiteY3" fmla="*/ 5437409 h 5437409"/>
              <a:gd name="connsiteX4" fmla="*/ 1546340 w 6056028"/>
              <a:gd name="connsiteY4" fmla="*/ 5437409 h 5437409"/>
              <a:gd name="connsiteX5" fmla="*/ 0 w 6056028"/>
              <a:gd name="connsiteY5" fmla="*/ 3891515 h 5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028" h="5437409">
                <a:moveTo>
                  <a:pt x="0" y="0"/>
                </a:moveTo>
                <a:lnTo>
                  <a:pt x="5002966" y="0"/>
                </a:lnTo>
                <a:cubicBezTo>
                  <a:pt x="5584924" y="0"/>
                  <a:pt x="6056028" y="470971"/>
                  <a:pt x="6056028" y="1052759"/>
                </a:cubicBezTo>
                <a:lnTo>
                  <a:pt x="6056028" y="5437409"/>
                </a:lnTo>
                <a:lnTo>
                  <a:pt x="1546340" y="5437409"/>
                </a:lnTo>
                <a:cubicBezTo>
                  <a:pt x="692805" y="5437409"/>
                  <a:pt x="0" y="4744805"/>
                  <a:pt x="0" y="3891515"/>
                </a:cubicBez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 name="Text Placeholder 32">
            <a:extLst>
              <a:ext uri="{FF2B5EF4-FFF2-40B4-BE49-F238E27FC236}">
                <a16:creationId xmlns:a16="http://schemas.microsoft.com/office/drawing/2014/main" id="{A9ABE795-9783-FE24-C737-0B370CA362BD}"/>
              </a:ext>
            </a:extLst>
          </p:cNvPr>
          <p:cNvSpPr>
            <a:spLocks noGrp="1"/>
          </p:cNvSpPr>
          <p:nvPr>
            <p:ph type="body" sz="quarter" idx="32" hasCustomPrompt="1"/>
          </p:nvPr>
        </p:nvSpPr>
        <p:spPr>
          <a:xfrm>
            <a:off x="585331" y="3376652"/>
            <a:ext cx="3098164" cy="465655"/>
          </a:xfrm>
          <a:prstGeom prst="rect">
            <a:avLst/>
          </a:prstGeom>
        </p:spPr>
        <p:txBody>
          <a:bodyPr numCol="1" spcCol="288000" anchor="t">
            <a:noAutofit/>
          </a:bodyPr>
          <a:lstStyle>
            <a:lvl1pPr marL="0" indent="0" algn="ctr">
              <a:lnSpc>
                <a:spcPct val="100000"/>
              </a:lnSpc>
              <a:spcBef>
                <a:spcPts val="0"/>
              </a:spcBef>
              <a:buNone/>
              <a:defRPr sz="19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Name</a:t>
            </a:r>
            <a:endParaRPr lang="en-US" dirty="0"/>
          </a:p>
        </p:txBody>
      </p:sp>
      <p:sp>
        <p:nvSpPr>
          <p:cNvPr id="3" name="Text Placeholder 23">
            <a:extLst>
              <a:ext uri="{FF2B5EF4-FFF2-40B4-BE49-F238E27FC236}">
                <a16:creationId xmlns:a16="http://schemas.microsoft.com/office/drawing/2014/main" id="{67D40FDD-CD4B-8AB4-5996-5943D4F34B7F}"/>
              </a:ext>
            </a:extLst>
          </p:cNvPr>
          <p:cNvSpPr>
            <a:spLocks noGrp="1"/>
          </p:cNvSpPr>
          <p:nvPr>
            <p:ph type="body" sz="quarter" idx="33" hasCustomPrompt="1"/>
          </p:nvPr>
        </p:nvSpPr>
        <p:spPr>
          <a:xfrm>
            <a:off x="566798" y="767164"/>
            <a:ext cx="3137936" cy="2586284"/>
          </a:xfrm>
          <a:prstGeom prst="rect">
            <a:avLst/>
          </a:prstGeom>
        </p:spPr>
        <p:txBody>
          <a:bodyPr anchor="ctr">
            <a:normAutofit/>
          </a:bodyPr>
          <a:lstStyle>
            <a:lvl1pPr marL="0" indent="0" algn="ctr">
              <a:lnSpc>
                <a:spcPts val="1860"/>
              </a:lnSpc>
              <a:spcBef>
                <a:spcPts val="0"/>
              </a:spcBef>
              <a:buNone/>
              <a:defRPr sz="1800" b="0" i="0" baseline="0">
                <a:solidFill>
                  <a:schemeClr val="bg1"/>
                </a:solidFill>
                <a:latin typeface="Calibri" panose="020F0502020204030204" pitchFamily="34" charset="0"/>
                <a:cs typeface="Calibri" panose="020F0502020204030204" pitchFamily="34" charset="0"/>
              </a:defRPr>
            </a:lvl1pPr>
          </a:lstStyle>
          <a:p>
            <a:pPr lvl="0"/>
            <a:r>
              <a:rPr lang="en-US" dirty="0"/>
              <a:t>Quote Slide</a:t>
            </a:r>
          </a:p>
        </p:txBody>
      </p:sp>
    </p:spTree>
    <p:extLst>
      <p:ext uri="{BB962C8B-B14F-4D97-AF65-F5344CB8AC3E}">
        <p14:creationId xmlns:p14="http://schemas.microsoft.com/office/powerpoint/2010/main" val="1102452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photo slide 2">
    <p:spTree>
      <p:nvGrpSpPr>
        <p:cNvPr id="1" name=""/>
        <p:cNvGrpSpPr/>
        <p:nvPr/>
      </p:nvGrpSpPr>
      <p:grpSpPr>
        <a:xfrm>
          <a:off x="0" y="0"/>
          <a:ext cx="0" cy="0"/>
          <a:chOff x="0" y="0"/>
          <a:chExt cx="0" cy="0"/>
        </a:xfrm>
      </p:grpSpPr>
      <p:sp>
        <p:nvSpPr>
          <p:cNvPr id="42" name="Freeform 41">
            <a:extLst>
              <a:ext uri="{FF2B5EF4-FFF2-40B4-BE49-F238E27FC236}">
                <a16:creationId xmlns:a16="http://schemas.microsoft.com/office/drawing/2014/main" id="{D8109A66-A71B-2541-A5C8-5FEDF01EF6B2}"/>
              </a:ext>
            </a:extLst>
          </p:cNvPr>
          <p:cNvSpPr/>
          <p:nvPr userDrawn="1"/>
        </p:nvSpPr>
        <p:spPr>
          <a:xfrm>
            <a:off x="182030" y="1672028"/>
            <a:ext cx="4283839" cy="3846244"/>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41" name="Picture Placeholder 40">
            <a:extLst>
              <a:ext uri="{FF2B5EF4-FFF2-40B4-BE49-F238E27FC236}">
                <a16:creationId xmlns:a16="http://schemas.microsoft.com/office/drawing/2014/main" id="{D8EFA40E-AAE5-8C4F-AF69-B6744972C903}"/>
              </a:ext>
            </a:extLst>
          </p:cNvPr>
          <p:cNvSpPr>
            <a:spLocks noGrp="1"/>
          </p:cNvSpPr>
          <p:nvPr>
            <p:ph type="pic" sz="quarter" idx="16"/>
          </p:nvPr>
        </p:nvSpPr>
        <p:spPr>
          <a:xfrm>
            <a:off x="401638" y="393700"/>
            <a:ext cx="6716712" cy="9014859"/>
          </a:xfrm>
          <a:custGeom>
            <a:avLst/>
            <a:gdLst>
              <a:gd name="connsiteX0" fmla="*/ 0 w 6716712"/>
              <a:gd name="connsiteY0" fmla="*/ 0 h 9014859"/>
              <a:gd name="connsiteX1" fmla="*/ 6716712 w 6716712"/>
              <a:gd name="connsiteY1" fmla="*/ 0 h 9014859"/>
              <a:gd name="connsiteX2" fmla="*/ 6716712 w 6716712"/>
              <a:gd name="connsiteY2" fmla="*/ 9014859 h 9014859"/>
              <a:gd name="connsiteX3" fmla="*/ 0 w 6716712"/>
              <a:gd name="connsiteY3" fmla="*/ 9014859 h 9014859"/>
              <a:gd name="connsiteX4" fmla="*/ 0 w 6716712"/>
              <a:gd name="connsiteY4" fmla="*/ 4686023 h 9014859"/>
              <a:gd name="connsiteX5" fmla="*/ 30281 w 6716712"/>
              <a:gd name="connsiteY5" fmla="*/ 4726496 h 9014859"/>
              <a:gd name="connsiteX6" fmla="*/ 874223 w 6716712"/>
              <a:gd name="connsiteY6" fmla="*/ 5124576 h 9014859"/>
              <a:gd name="connsiteX7" fmla="*/ 4064231 w 6716712"/>
              <a:gd name="connsiteY7" fmla="*/ 5124576 h 9014859"/>
              <a:gd name="connsiteX8" fmla="*/ 4064231 w 6716712"/>
              <a:gd name="connsiteY8" fmla="*/ 2023016 h 9014859"/>
              <a:gd name="connsiteX9" fmla="*/ 3319329 w 6716712"/>
              <a:gd name="connsiteY9" fmla="*/ 1278328 h 9014859"/>
              <a:gd name="connsiteX10" fmla="*/ 0 w 6716712"/>
              <a:gd name="connsiteY10" fmla="*/ 1278328 h 901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16712" h="9014859">
                <a:moveTo>
                  <a:pt x="0" y="0"/>
                </a:moveTo>
                <a:lnTo>
                  <a:pt x="6716712" y="0"/>
                </a:lnTo>
                <a:lnTo>
                  <a:pt x="6716712" y="9014859"/>
                </a:lnTo>
                <a:lnTo>
                  <a:pt x="0" y="9014859"/>
                </a:lnTo>
                <a:lnTo>
                  <a:pt x="0" y="4686023"/>
                </a:lnTo>
                <a:lnTo>
                  <a:pt x="30281" y="4726496"/>
                </a:lnTo>
                <a:cubicBezTo>
                  <a:pt x="230963" y="4969560"/>
                  <a:pt x="534606" y="5124576"/>
                  <a:pt x="874223" y="5124576"/>
                </a:cubicBezTo>
                <a:lnTo>
                  <a:pt x="4064231" y="5124576"/>
                </a:lnTo>
                <a:lnTo>
                  <a:pt x="4064231" y="2023016"/>
                </a:lnTo>
                <a:cubicBezTo>
                  <a:pt x="4064231" y="1611478"/>
                  <a:pt x="3730987" y="1278328"/>
                  <a:pt x="3319329" y="1278328"/>
                </a:cubicBezTo>
                <a:lnTo>
                  <a:pt x="0" y="1278328"/>
                </a:lnTo>
                <a:close/>
              </a:path>
            </a:pathLst>
          </a:custGeom>
          <a:solidFill>
            <a:schemeClr val="bg1">
              <a:lumMod val="85000"/>
            </a:schemeClr>
          </a:solidFill>
        </p:spPr>
        <p:txBody>
          <a:bodyPr wrap="square">
            <a:noAutofit/>
          </a:bodyPr>
          <a:lstStyle>
            <a:lvl1pPr>
              <a:defRPr sz="800">
                <a:latin typeface="Calibri" panose="020F0502020204030204" pitchFamily="34" charset="0"/>
                <a:cs typeface="Calibri" panose="020F0502020204030204" pitchFamily="34" charset="0"/>
              </a:defRPr>
            </a:lvl1pPr>
          </a:lstStyle>
          <a:p>
            <a:endParaRPr lang="en-US" dirty="0"/>
          </a:p>
        </p:txBody>
      </p:sp>
      <p:sp>
        <p:nvSpPr>
          <p:cNvPr id="157" name="Slide Number Placeholder 5">
            <a:extLst>
              <a:ext uri="{FF2B5EF4-FFF2-40B4-BE49-F238E27FC236}">
                <a16:creationId xmlns:a16="http://schemas.microsoft.com/office/drawing/2014/main" id="{883966C9-E131-AA40-B612-AC4A6C3D25DC}"/>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
        <p:nvSpPr>
          <p:cNvPr id="9" name="Text Placeholder 32">
            <a:extLst>
              <a:ext uri="{FF2B5EF4-FFF2-40B4-BE49-F238E27FC236}">
                <a16:creationId xmlns:a16="http://schemas.microsoft.com/office/drawing/2014/main" id="{129181BC-6021-512D-4415-B05ECABD4F22}"/>
              </a:ext>
            </a:extLst>
          </p:cNvPr>
          <p:cNvSpPr>
            <a:spLocks noGrp="1"/>
          </p:cNvSpPr>
          <p:nvPr>
            <p:ph type="body" sz="quarter" idx="32" hasCustomPrompt="1"/>
          </p:nvPr>
        </p:nvSpPr>
        <p:spPr>
          <a:xfrm>
            <a:off x="877562" y="4649270"/>
            <a:ext cx="3098164" cy="465655"/>
          </a:xfrm>
          <a:prstGeom prst="rect">
            <a:avLst/>
          </a:prstGeom>
        </p:spPr>
        <p:txBody>
          <a:bodyPr numCol="1" spcCol="288000" anchor="t">
            <a:noAutofit/>
          </a:bodyPr>
          <a:lstStyle>
            <a:lvl1pPr marL="0" indent="0" algn="ctr">
              <a:lnSpc>
                <a:spcPct val="100000"/>
              </a:lnSpc>
              <a:spcBef>
                <a:spcPts val="0"/>
              </a:spcBef>
              <a:buNone/>
              <a:defRPr sz="19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Name</a:t>
            </a:r>
            <a:endParaRPr lang="en-US" dirty="0"/>
          </a:p>
        </p:txBody>
      </p:sp>
      <p:sp>
        <p:nvSpPr>
          <p:cNvPr id="3" name="Text Placeholder 23">
            <a:extLst>
              <a:ext uri="{FF2B5EF4-FFF2-40B4-BE49-F238E27FC236}">
                <a16:creationId xmlns:a16="http://schemas.microsoft.com/office/drawing/2014/main" id="{D1294A92-4D17-5452-0457-373A7A40148F}"/>
              </a:ext>
            </a:extLst>
          </p:cNvPr>
          <p:cNvSpPr>
            <a:spLocks noGrp="1"/>
          </p:cNvSpPr>
          <p:nvPr>
            <p:ph type="body" sz="quarter" idx="33" hasCustomPrompt="1"/>
          </p:nvPr>
        </p:nvSpPr>
        <p:spPr>
          <a:xfrm>
            <a:off x="859029" y="2039782"/>
            <a:ext cx="3137936" cy="2586284"/>
          </a:xfrm>
          <a:prstGeom prst="rect">
            <a:avLst/>
          </a:prstGeom>
        </p:spPr>
        <p:txBody>
          <a:bodyPr anchor="ctr">
            <a:normAutofit/>
          </a:bodyPr>
          <a:lstStyle>
            <a:lvl1pPr marL="0" indent="0" algn="ctr">
              <a:lnSpc>
                <a:spcPts val="1860"/>
              </a:lnSpc>
              <a:spcBef>
                <a:spcPts val="0"/>
              </a:spcBef>
              <a:buNone/>
              <a:defRPr sz="1800" b="0" i="0" baseline="0">
                <a:solidFill>
                  <a:schemeClr val="bg1"/>
                </a:solidFill>
                <a:latin typeface="Calibri" panose="020F0502020204030204" pitchFamily="34" charset="0"/>
                <a:cs typeface="Calibri" panose="020F0502020204030204" pitchFamily="34" charset="0"/>
              </a:defRPr>
            </a:lvl1pPr>
          </a:lstStyle>
          <a:p>
            <a:pPr lvl="0"/>
            <a:r>
              <a:rPr lang="en-US" dirty="0"/>
              <a:t>Quote Slide</a:t>
            </a:r>
          </a:p>
        </p:txBody>
      </p:sp>
    </p:spTree>
    <p:extLst>
      <p:ext uri="{BB962C8B-B14F-4D97-AF65-F5344CB8AC3E}">
        <p14:creationId xmlns:p14="http://schemas.microsoft.com/office/powerpoint/2010/main" val="3080309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58" name="Freeform 57">
            <a:extLst>
              <a:ext uri="{FF2B5EF4-FFF2-40B4-BE49-F238E27FC236}">
                <a16:creationId xmlns:a16="http://schemas.microsoft.com/office/drawing/2014/main" id="{3565780B-7092-5B4F-A88D-AF6E195E5CDD}"/>
              </a:ext>
            </a:extLst>
          </p:cNvPr>
          <p:cNvSpPr/>
          <p:nvPr userDrawn="1"/>
        </p:nvSpPr>
        <p:spPr>
          <a:xfrm>
            <a:off x="1033053" y="476896"/>
            <a:ext cx="3430886" cy="9020430"/>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56" name="Text Placeholder 8">
            <a:extLst>
              <a:ext uri="{FF2B5EF4-FFF2-40B4-BE49-F238E27FC236}">
                <a16:creationId xmlns:a16="http://schemas.microsoft.com/office/drawing/2014/main" id="{A880D8B8-54FE-9A41-9C0F-551796DE9094}"/>
              </a:ext>
            </a:extLst>
          </p:cNvPr>
          <p:cNvSpPr>
            <a:spLocks noGrp="1"/>
          </p:cNvSpPr>
          <p:nvPr>
            <p:ph type="body" sz="quarter" idx="35" hasCustomPrompt="1"/>
          </p:nvPr>
        </p:nvSpPr>
        <p:spPr>
          <a:xfrm>
            <a:off x="4761939" y="1198645"/>
            <a:ext cx="2182529" cy="339415"/>
          </a:xfrm>
          <a:prstGeom prst="rect">
            <a:avLst/>
          </a:prstGeom>
        </p:spPr>
        <p:txBody>
          <a:bodyPr>
            <a:normAutofit/>
          </a:bodyPr>
          <a:lstStyle>
            <a:lvl1pPr marL="0" indent="0" algn="r">
              <a:lnSpc>
                <a:spcPct val="100000"/>
              </a:lnSpc>
              <a:buNone/>
              <a:defRPr sz="2000" b="1" i="0">
                <a:solidFill>
                  <a:srgbClr val="22BDBF"/>
                </a:solidFill>
                <a:latin typeface="Calibri" panose="020F0502020204030204" pitchFamily="34" charset="0"/>
                <a:cs typeface="Calibri" panose="020F0502020204030204" pitchFamily="34" charset="0"/>
              </a:defRPr>
            </a:lvl1pPr>
          </a:lstStyle>
          <a:p>
            <a:pPr lvl="0"/>
            <a:r>
              <a:rPr lang="en-US" dirty="0"/>
              <a:t>Feature Title</a:t>
            </a:r>
          </a:p>
        </p:txBody>
      </p:sp>
      <p:sp>
        <p:nvSpPr>
          <p:cNvPr id="57" name="Text Placeholder 8">
            <a:extLst>
              <a:ext uri="{FF2B5EF4-FFF2-40B4-BE49-F238E27FC236}">
                <a16:creationId xmlns:a16="http://schemas.microsoft.com/office/drawing/2014/main" id="{06796A09-8385-7B44-9E58-2584049BA732}"/>
              </a:ext>
            </a:extLst>
          </p:cNvPr>
          <p:cNvSpPr>
            <a:spLocks noGrp="1"/>
          </p:cNvSpPr>
          <p:nvPr>
            <p:ph type="body" sz="quarter" idx="36" hasCustomPrompt="1"/>
          </p:nvPr>
        </p:nvSpPr>
        <p:spPr>
          <a:xfrm>
            <a:off x="4762166" y="1697358"/>
            <a:ext cx="2179389" cy="1323734"/>
          </a:xfrm>
          <a:prstGeom prst="rect">
            <a:avLst/>
          </a:prstGeom>
        </p:spPr>
        <p:txBody>
          <a:bodyPr>
            <a:noAutofit/>
          </a:bodyPr>
          <a:lstStyle>
            <a:lvl1pPr marL="0" indent="0" algn="r">
              <a:lnSpc>
                <a:spcPct val="100000"/>
              </a:lnSpc>
              <a:buNone/>
              <a:defRPr lang="en-US" sz="1200" b="0" i="0" smtClean="0">
                <a:solidFill>
                  <a:srgbClr val="10153D"/>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6" name="Text Placeholder 8">
            <a:extLst>
              <a:ext uri="{FF2B5EF4-FFF2-40B4-BE49-F238E27FC236}">
                <a16:creationId xmlns:a16="http://schemas.microsoft.com/office/drawing/2014/main" id="{17A55D83-239D-7E4E-A01F-6003B9F43D98}"/>
              </a:ext>
            </a:extLst>
          </p:cNvPr>
          <p:cNvSpPr>
            <a:spLocks noGrp="1"/>
          </p:cNvSpPr>
          <p:nvPr>
            <p:ph type="body" sz="quarter" idx="37" hasCustomPrompt="1"/>
          </p:nvPr>
        </p:nvSpPr>
        <p:spPr>
          <a:xfrm>
            <a:off x="3415441" y="1376711"/>
            <a:ext cx="1043148" cy="955625"/>
          </a:xfrm>
          <a:prstGeom prst="rect">
            <a:avLst/>
          </a:prstGeom>
          <a:noFill/>
        </p:spPr>
        <p:txBody>
          <a:bodyPr anchor="ctr">
            <a:noAutofit/>
          </a:bodyPr>
          <a:lstStyle>
            <a:lvl1pPr marL="0" indent="0" algn="r">
              <a:lnSpc>
                <a:spcPct val="130000"/>
              </a:lnSpc>
              <a:buNone/>
              <a:defRPr sz="6500" b="0" i="0">
                <a:solidFill>
                  <a:schemeClr val="bg1"/>
                </a:solidFill>
                <a:latin typeface="Calibri" panose="020F0502020204030204" pitchFamily="34" charset="0"/>
                <a:cs typeface="Calibri" panose="020F0502020204030204" pitchFamily="34" charset="0"/>
              </a:defRPr>
            </a:lvl1pPr>
          </a:lstStyle>
          <a:p>
            <a:pPr lvl="0"/>
            <a:r>
              <a:rPr lang="en-US" dirty="0"/>
              <a:t>01</a:t>
            </a:r>
          </a:p>
        </p:txBody>
      </p:sp>
      <p:sp>
        <p:nvSpPr>
          <p:cNvPr id="121" name="Picture Placeholder 120">
            <a:extLst>
              <a:ext uri="{FF2B5EF4-FFF2-40B4-BE49-F238E27FC236}">
                <a16:creationId xmlns:a16="http://schemas.microsoft.com/office/drawing/2014/main" id="{086978C8-0A1E-2F4C-A447-80492147AC20}"/>
              </a:ext>
            </a:extLst>
          </p:cNvPr>
          <p:cNvSpPr>
            <a:spLocks noGrp="1"/>
          </p:cNvSpPr>
          <p:nvPr>
            <p:ph type="pic" sz="quarter" idx="41"/>
          </p:nvPr>
        </p:nvSpPr>
        <p:spPr>
          <a:xfrm>
            <a:off x="7559" y="188180"/>
            <a:ext cx="3354094" cy="9597862"/>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grpSp>
        <p:nvGrpSpPr>
          <p:cNvPr id="5" name="Group 4">
            <a:extLst>
              <a:ext uri="{FF2B5EF4-FFF2-40B4-BE49-F238E27FC236}">
                <a16:creationId xmlns:a16="http://schemas.microsoft.com/office/drawing/2014/main" id="{C840E568-5ABF-4D45-A5FE-455302AF2F2A}"/>
              </a:ext>
            </a:extLst>
          </p:cNvPr>
          <p:cNvGrpSpPr/>
          <p:nvPr userDrawn="1"/>
        </p:nvGrpSpPr>
        <p:grpSpPr>
          <a:xfrm>
            <a:off x="4061909" y="872067"/>
            <a:ext cx="3006907" cy="2343148"/>
            <a:chOff x="4061909" y="1565906"/>
            <a:chExt cx="3006907" cy="2634619"/>
          </a:xfrm>
        </p:grpSpPr>
        <p:cxnSp>
          <p:nvCxnSpPr>
            <p:cNvPr id="59" name="Straight Connector 58">
              <a:extLst>
                <a:ext uri="{FF2B5EF4-FFF2-40B4-BE49-F238E27FC236}">
                  <a16:creationId xmlns:a16="http://schemas.microsoft.com/office/drawing/2014/main" id="{2E172578-1E17-5943-A70C-D44C3590E20A}"/>
                </a:ext>
              </a:extLst>
            </p:cNvPr>
            <p:cNvCxnSpPr/>
            <p:nvPr userDrawn="1"/>
          </p:nvCxnSpPr>
          <p:spPr>
            <a:xfrm>
              <a:off x="7066852" y="1577903"/>
              <a:ext cx="1964" cy="2617423"/>
            </a:xfrm>
            <a:prstGeom prst="line">
              <a:avLst/>
            </a:prstGeom>
            <a:solidFill>
              <a:schemeClr val="tx1">
                <a:lumMod val="85000"/>
                <a:lumOff val="15000"/>
              </a:schemeClr>
            </a:solidFill>
            <a:ln w="28575">
              <a:gradFill>
                <a:gsLst>
                  <a:gs pos="0">
                    <a:srgbClr val="E8068C"/>
                  </a:gs>
                  <a:gs pos="49000">
                    <a:srgbClr val="3C3795"/>
                  </a:gs>
                  <a:gs pos="10000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452AE59-25C2-A845-A504-6DFA86CB4AA7}"/>
                </a:ext>
              </a:extLst>
            </p:cNvPr>
            <p:cNvCxnSpPr/>
            <p:nvPr userDrawn="1"/>
          </p:nvCxnSpPr>
          <p:spPr>
            <a:xfrm>
              <a:off x="4061909" y="4195325"/>
              <a:ext cx="3004943" cy="0"/>
            </a:xfrm>
            <a:prstGeom prst="line">
              <a:avLst/>
            </a:prstGeom>
            <a:solidFill>
              <a:schemeClr val="tx1">
                <a:lumMod val="85000"/>
                <a:lumOff val="15000"/>
              </a:schemeClr>
            </a:solidFill>
            <a:ln w="28575">
              <a:gradFill>
                <a:gsLst>
                  <a:gs pos="0">
                    <a:srgbClr val="22BDBF"/>
                  </a:gs>
                  <a:gs pos="49000">
                    <a:srgbClr val="3C3795"/>
                  </a:gs>
                  <a:gs pos="100000">
                    <a:srgbClr val="E8068C"/>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0D16B07-376E-A640-A5E7-314E737EAD48}"/>
                </a:ext>
              </a:extLst>
            </p:cNvPr>
            <p:cNvCxnSpPr/>
            <p:nvPr userDrawn="1"/>
          </p:nvCxnSpPr>
          <p:spPr>
            <a:xfrm>
              <a:off x="4061909" y="1577903"/>
              <a:ext cx="3004943" cy="0"/>
            </a:xfrm>
            <a:prstGeom prst="line">
              <a:avLst/>
            </a:prstGeom>
            <a:solidFill>
              <a:schemeClr val="tx1">
                <a:lumMod val="85000"/>
                <a:lumOff val="15000"/>
              </a:schemeClr>
            </a:solidFill>
            <a:ln w="28575">
              <a:gradFill>
                <a:gsLst>
                  <a:gs pos="0">
                    <a:srgbClr val="22BDBF"/>
                  </a:gs>
                  <a:gs pos="49000">
                    <a:srgbClr val="3C3795"/>
                  </a:gs>
                  <a:gs pos="100000">
                    <a:srgbClr val="E8068C"/>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3127D0D-4935-6047-9944-DF7720C6EF1F}"/>
                </a:ext>
              </a:extLst>
            </p:cNvPr>
            <p:cNvCxnSpPr/>
            <p:nvPr userDrawn="1"/>
          </p:nvCxnSpPr>
          <p:spPr>
            <a:xfrm>
              <a:off x="4061909" y="1565906"/>
              <a:ext cx="0" cy="661856"/>
            </a:xfrm>
            <a:prstGeom prst="line">
              <a:avLst/>
            </a:prstGeom>
            <a:solidFill>
              <a:schemeClr val="tx1">
                <a:lumMod val="85000"/>
                <a:lumOff val="15000"/>
              </a:schemeClr>
            </a:solidFill>
            <a:ln w="28575">
              <a:gradFill>
                <a:gsLst>
                  <a:gs pos="0">
                    <a:srgbClr val="22BDBF"/>
                  </a:gs>
                  <a:gs pos="49000">
                    <a:srgbClr val="3C3795"/>
                  </a:gs>
                  <a:gs pos="10000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DE2609D-4BBF-724C-A2CF-DE37763E7D44}"/>
                </a:ext>
              </a:extLst>
            </p:cNvPr>
            <p:cNvCxnSpPr/>
            <p:nvPr userDrawn="1"/>
          </p:nvCxnSpPr>
          <p:spPr>
            <a:xfrm>
              <a:off x="4061909" y="3538669"/>
              <a:ext cx="0" cy="661856"/>
            </a:xfrm>
            <a:prstGeom prst="line">
              <a:avLst/>
            </a:prstGeom>
            <a:solidFill>
              <a:schemeClr val="tx1">
                <a:lumMod val="85000"/>
                <a:lumOff val="15000"/>
              </a:schemeClr>
            </a:solidFill>
            <a:ln w="28575">
              <a:gradFill>
                <a:gsLst>
                  <a:gs pos="100000">
                    <a:srgbClr val="22BDBF"/>
                  </a:gs>
                  <a:gs pos="49000">
                    <a:srgbClr val="3C3795"/>
                  </a:gs>
                  <a:gs pos="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grpSp>
      <p:sp>
        <p:nvSpPr>
          <p:cNvPr id="149" name="Text Placeholder 8">
            <a:extLst>
              <a:ext uri="{FF2B5EF4-FFF2-40B4-BE49-F238E27FC236}">
                <a16:creationId xmlns:a16="http://schemas.microsoft.com/office/drawing/2014/main" id="{DD6AA936-BB29-2E4F-989D-BD8E8FD10D71}"/>
              </a:ext>
            </a:extLst>
          </p:cNvPr>
          <p:cNvSpPr>
            <a:spLocks noGrp="1"/>
          </p:cNvSpPr>
          <p:nvPr>
            <p:ph type="body" sz="quarter" idx="42" hasCustomPrompt="1"/>
          </p:nvPr>
        </p:nvSpPr>
        <p:spPr>
          <a:xfrm>
            <a:off x="4752619" y="3921902"/>
            <a:ext cx="2182529" cy="339415"/>
          </a:xfrm>
          <a:prstGeom prst="rect">
            <a:avLst/>
          </a:prstGeom>
        </p:spPr>
        <p:txBody>
          <a:bodyPr>
            <a:normAutofit/>
          </a:bodyPr>
          <a:lstStyle>
            <a:lvl1pPr marL="0" indent="0" algn="r">
              <a:lnSpc>
                <a:spcPct val="100000"/>
              </a:lnSpc>
              <a:buNone/>
              <a:defRPr sz="2000" b="1" i="0">
                <a:solidFill>
                  <a:srgbClr val="22BDBF"/>
                </a:solidFill>
                <a:latin typeface="Calibri" panose="020F0502020204030204" pitchFamily="34" charset="0"/>
                <a:cs typeface="Calibri" panose="020F0502020204030204" pitchFamily="34" charset="0"/>
              </a:defRPr>
            </a:lvl1pPr>
          </a:lstStyle>
          <a:p>
            <a:pPr lvl="0"/>
            <a:r>
              <a:rPr lang="en-US" dirty="0"/>
              <a:t>Feature Title</a:t>
            </a:r>
          </a:p>
        </p:txBody>
      </p:sp>
      <p:sp>
        <p:nvSpPr>
          <p:cNvPr id="150" name="Text Placeholder 8">
            <a:extLst>
              <a:ext uri="{FF2B5EF4-FFF2-40B4-BE49-F238E27FC236}">
                <a16:creationId xmlns:a16="http://schemas.microsoft.com/office/drawing/2014/main" id="{5AF5A071-C258-9849-85E5-7CD3D95B3D30}"/>
              </a:ext>
            </a:extLst>
          </p:cNvPr>
          <p:cNvSpPr>
            <a:spLocks noGrp="1"/>
          </p:cNvSpPr>
          <p:nvPr>
            <p:ph type="body" sz="quarter" idx="43" hasCustomPrompt="1"/>
          </p:nvPr>
        </p:nvSpPr>
        <p:spPr>
          <a:xfrm>
            <a:off x="4752846" y="4420615"/>
            <a:ext cx="2179389" cy="1385087"/>
          </a:xfrm>
          <a:prstGeom prst="rect">
            <a:avLst/>
          </a:prstGeom>
        </p:spPr>
        <p:txBody>
          <a:bodyPr>
            <a:noAutofit/>
          </a:bodyPr>
          <a:lstStyle>
            <a:lvl1pPr marL="0" indent="0" algn="r">
              <a:lnSpc>
                <a:spcPct val="100000"/>
              </a:lnSpc>
              <a:buNone/>
              <a:defRPr lang="en-US" sz="1200" b="0" i="0" smtClean="0">
                <a:solidFill>
                  <a:srgbClr val="10153D"/>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151" name="Text Placeholder 8">
            <a:extLst>
              <a:ext uri="{FF2B5EF4-FFF2-40B4-BE49-F238E27FC236}">
                <a16:creationId xmlns:a16="http://schemas.microsoft.com/office/drawing/2014/main" id="{30B7D1DF-000E-8D4F-84F1-DD82918ECDB3}"/>
              </a:ext>
            </a:extLst>
          </p:cNvPr>
          <p:cNvSpPr>
            <a:spLocks noGrp="1"/>
          </p:cNvSpPr>
          <p:nvPr>
            <p:ph type="body" sz="quarter" idx="44" hasCustomPrompt="1"/>
          </p:nvPr>
        </p:nvSpPr>
        <p:spPr>
          <a:xfrm>
            <a:off x="3424050" y="4117898"/>
            <a:ext cx="1043148" cy="955625"/>
          </a:xfrm>
          <a:prstGeom prst="rect">
            <a:avLst/>
          </a:prstGeom>
          <a:noFill/>
        </p:spPr>
        <p:txBody>
          <a:bodyPr anchor="ctr">
            <a:noAutofit/>
          </a:bodyPr>
          <a:lstStyle>
            <a:lvl1pPr marL="0" indent="0" algn="r">
              <a:lnSpc>
                <a:spcPct val="130000"/>
              </a:lnSpc>
              <a:buNone/>
              <a:defRPr sz="6500" b="0" i="0">
                <a:solidFill>
                  <a:schemeClr val="bg1"/>
                </a:solidFill>
                <a:latin typeface="Calibri" panose="020F0502020204030204" pitchFamily="34" charset="0"/>
                <a:cs typeface="Calibri" panose="020F0502020204030204" pitchFamily="34" charset="0"/>
              </a:defRPr>
            </a:lvl1pPr>
          </a:lstStyle>
          <a:p>
            <a:pPr lvl="0"/>
            <a:r>
              <a:rPr lang="en-US" dirty="0"/>
              <a:t>02</a:t>
            </a:r>
          </a:p>
        </p:txBody>
      </p:sp>
      <p:sp>
        <p:nvSpPr>
          <p:cNvPr id="159" name="Text Placeholder 8">
            <a:extLst>
              <a:ext uri="{FF2B5EF4-FFF2-40B4-BE49-F238E27FC236}">
                <a16:creationId xmlns:a16="http://schemas.microsoft.com/office/drawing/2014/main" id="{D36B5CCA-A130-2849-9147-510E1298A155}"/>
              </a:ext>
            </a:extLst>
          </p:cNvPr>
          <p:cNvSpPr>
            <a:spLocks noGrp="1"/>
          </p:cNvSpPr>
          <p:nvPr>
            <p:ph type="body" sz="quarter" idx="45" hasCustomPrompt="1"/>
          </p:nvPr>
        </p:nvSpPr>
        <p:spPr>
          <a:xfrm>
            <a:off x="4749706" y="6635459"/>
            <a:ext cx="2182529" cy="339415"/>
          </a:xfrm>
          <a:prstGeom prst="rect">
            <a:avLst/>
          </a:prstGeom>
        </p:spPr>
        <p:txBody>
          <a:bodyPr>
            <a:normAutofit/>
          </a:bodyPr>
          <a:lstStyle>
            <a:lvl1pPr marL="0" indent="0" algn="r">
              <a:lnSpc>
                <a:spcPct val="100000"/>
              </a:lnSpc>
              <a:buNone/>
              <a:defRPr sz="2000" b="1" i="0">
                <a:solidFill>
                  <a:srgbClr val="22BDBF"/>
                </a:solidFill>
                <a:latin typeface="Calibri" panose="020F0502020204030204" pitchFamily="34" charset="0"/>
                <a:cs typeface="Calibri" panose="020F0502020204030204" pitchFamily="34" charset="0"/>
              </a:defRPr>
            </a:lvl1pPr>
          </a:lstStyle>
          <a:p>
            <a:pPr lvl="0"/>
            <a:r>
              <a:rPr lang="en-US" dirty="0"/>
              <a:t>Feature Title</a:t>
            </a:r>
          </a:p>
        </p:txBody>
      </p:sp>
      <p:sp>
        <p:nvSpPr>
          <p:cNvPr id="160" name="Text Placeholder 8">
            <a:extLst>
              <a:ext uri="{FF2B5EF4-FFF2-40B4-BE49-F238E27FC236}">
                <a16:creationId xmlns:a16="http://schemas.microsoft.com/office/drawing/2014/main" id="{4D2D838D-CF42-5147-9594-896E2782017A}"/>
              </a:ext>
            </a:extLst>
          </p:cNvPr>
          <p:cNvSpPr>
            <a:spLocks noGrp="1"/>
          </p:cNvSpPr>
          <p:nvPr>
            <p:ph type="body" sz="quarter" idx="46" hasCustomPrompt="1"/>
          </p:nvPr>
        </p:nvSpPr>
        <p:spPr>
          <a:xfrm>
            <a:off x="4749933" y="7134172"/>
            <a:ext cx="2179389" cy="1240219"/>
          </a:xfrm>
          <a:prstGeom prst="rect">
            <a:avLst/>
          </a:prstGeom>
        </p:spPr>
        <p:txBody>
          <a:bodyPr>
            <a:noAutofit/>
          </a:bodyPr>
          <a:lstStyle>
            <a:lvl1pPr marL="0" indent="0" algn="r">
              <a:lnSpc>
                <a:spcPct val="100000"/>
              </a:lnSpc>
              <a:buNone/>
              <a:defRPr lang="en-US" sz="1200" b="0" i="0" smtClean="0">
                <a:solidFill>
                  <a:srgbClr val="10153D"/>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161" name="Text Placeholder 8">
            <a:extLst>
              <a:ext uri="{FF2B5EF4-FFF2-40B4-BE49-F238E27FC236}">
                <a16:creationId xmlns:a16="http://schemas.microsoft.com/office/drawing/2014/main" id="{FD9290C7-CCE6-9B48-B3A1-61DAF283AB81}"/>
              </a:ext>
            </a:extLst>
          </p:cNvPr>
          <p:cNvSpPr>
            <a:spLocks noGrp="1"/>
          </p:cNvSpPr>
          <p:nvPr>
            <p:ph type="body" sz="quarter" idx="47" hasCustomPrompt="1"/>
          </p:nvPr>
        </p:nvSpPr>
        <p:spPr>
          <a:xfrm>
            <a:off x="3385279" y="6831455"/>
            <a:ext cx="1043148" cy="955625"/>
          </a:xfrm>
          <a:prstGeom prst="rect">
            <a:avLst/>
          </a:prstGeom>
          <a:noFill/>
        </p:spPr>
        <p:txBody>
          <a:bodyPr anchor="ctr">
            <a:noAutofit/>
          </a:bodyPr>
          <a:lstStyle>
            <a:lvl1pPr marL="0" indent="0" algn="r">
              <a:lnSpc>
                <a:spcPct val="130000"/>
              </a:lnSpc>
              <a:buNone/>
              <a:defRPr sz="6500" b="0" i="0">
                <a:solidFill>
                  <a:schemeClr val="bg1"/>
                </a:solidFill>
                <a:latin typeface="Calibri" panose="020F0502020204030204" pitchFamily="34" charset="0"/>
                <a:cs typeface="Calibri" panose="020F0502020204030204" pitchFamily="34" charset="0"/>
              </a:defRPr>
            </a:lvl1pPr>
          </a:lstStyle>
          <a:p>
            <a:pPr lvl="0"/>
            <a:r>
              <a:rPr lang="en-US" dirty="0"/>
              <a:t>03</a:t>
            </a:r>
          </a:p>
        </p:txBody>
      </p:sp>
      <p:sp>
        <p:nvSpPr>
          <p:cNvPr id="174" name="Slide Number Placeholder 5">
            <a:extLst>
              <a:ext uri="{FF2B5EF4-FFF2-40B4-BE49-F238E27FC236}">
                <a16:creationId xmlns:a16="http://schemas.microsoft.com/office/drawing/2014/main" id="{EBD33226-0FBB-994F-B04E-DABD0AAC39B8}"/>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grpSp>
        <p:nvGrpSpPr>
          <p:cNvPr id="9" name="Group 8">
            <a:extLst>
              <a:ext uri="{FF2B5EF4-FFF2-40B4-BE49-F238E27FC236}">
                <a16:creationId xmlns:a16="http://schemas.microsoft.com/office/drawing/2014/main" id="{F454E704-B989-D0EF-F169-DBA4909C5CC1}"/>
              </a:ext>
            </a:extLst>
          </p:cNvPr>
          <p:cNvGrpSpPr/>
          <p:nvPr userDrawn="1"/>
        </p:nvGrpSpPr>
        <p:grpSpPr>
          <a:xfrm>
            <a:off x="4046669" y="3584787"/>
            <a:ext cx="3006907" cy="2343148"/>
            <a:chOff x="4061909" y="1565906"/>
            <a:chExt cx="3006907" cy="2634619"/>
          </a:xfrm>
        </p:grpSpPr>
        <p:cxnSp>
          <p:nvCxnSpPr>
            <p:cNvPr id="10" name="Straight Connector 9">
              <a:extLst>
                <a:ext uri="{FF2B5EF4-FFF2-40B4-BE49-F238E27FC236}">
                  <a16:creationId xmlns:a16="http://schemas.microsoft.com/office/drawing/2014/main" id="{59476C01-1496-7C30-42F1-2F6409605C7E}"/>
                </a:ext>
              </a:extLst>
            </p:cNvPr>
            <p:cNvCxnSpPr/>
            <p:nvPr userDrawn="1"/>
          </p:nvCxnSpPr>
          <p:spPr>
            <a:xfrm>
              <a:off x="7066852" y="1577903"/>
              <a:ext cx="1964" cy="2617423"/>
            </a:xfrm>
            <a:prstGeom prst="line">
              <a:avLst/>
            </a:prstGeom>
            <a:solidFill>
              <a:schemeClr val="tx1">
                <a:lumMod val="85000"/>
                <a:lumOff val="15000"/>
              </a:schemeClr>
            </a:solidFill>
            <a:ln w="28575">
              <a:gradFill>
                <a:gsLst>
                  <a:gs pos="0">
                    <a:srgbClr val="E8068C"/>
                  </a:gs>
                  <a:gs pos="49000">
                    <a:srgbClr val="3C3795"/>
                  </a:gs>
                  <a:gs pos="10000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B2D144C-AE5D-CC84-AD78-57C1758A0ABA}"/>
                </a:ext>
              </a:extLst>
            </p:cNvPr>
            <p:cNvCxnSpPr/>
            <p:nvPr userDrawn="1"/>
          </p:nvCxnSpPr>
          <p:spPr>
            <a:xfrm>
              <a:off x="4061909" y="4195325"/>
              <a:ext cx="3004943" cy="0"/>
            </a:xfrm>
            <a:prstGeom prst="line">
              <a:avLst/>
            </a:prstGeom>
            <a:solidFill>
              <a:schemeClr val="tx1">
                <a:lumMod val="85000"/>
                <a:lumOff val="15000"/>
              </a:schemeClr>
            </a:solidFill>
            <a:ln w="28575">
              <a:gradFill>
                <a:gsLst>
                  <a:gs pos="0">
                    <a:srgbClr val="22BDBF"/>
                  </a:gs>
                  <a:gs pos="49000">
                    <a:srgbClr val="3C3795"/>
                  </a:gs>
                  <a:gs pos="100000">
                    <a:srgbClr val="E8068C"/>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55CD019-6FF2-BBF4-8B82-3E84299F2819}"/>
                </a:ext>
              </a:extLst>
            </p:cNvPr>
            <p:cNvCxnSpPr/>
            <p:nvPr userDrawn="1"/>
          </p:nvCxnSpPr>
          <p:spPr>
            <a:xfrm>
              <a:off x="4061909" y="1577903"/>
              <a:ext cx="3004943" cy="0"/>
            </a:xfrm>
            <a:prstGeom prst="line">
              <a:avLst/>
            </a:prstGeom>
            <a:solidFill>
              <a:schemeClr val="tx1">
                <a:lumMod val="85000"/>
                <a:lumOff val="15000"/>
              </a:schemeClr>
            </a:solidFill>
            <a:ln w="28575">
              <a:gradFill>
                <a:gsLst>
                  <a:gs pos="0">
                    <a:srgbClr val="22BDBF"/>
                  </a:gs>
                  <a:gs pos="49000">
                    <a:srgbClr val="3C3795"/>
                  </a:gs>
                  <a:gs pos="100000">
                    <a:srgbClr val="E8068C"/>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6C8FD38-EE82-4AA4-93EA-3C40EFDBF23D}"/>
                </a:ext>
              </a:extLst>
            </p:cNvPr>
            <p:cNvCxnSpPr/>
            <p:nvPr userDrawn="1"/>
          </p:nvCxnSpPr>
          <p:spPr>
            <a:xfrm>
              <a:off x="4061909" y="1565906"/>
              <a:ext cx="0" cy="661856"/>
            </a:xfrm>
            <a:prstGeom prst="line">
              <a:avLst/>
            </a:prstGeom>
            <a:solidFill>
              <a:schemeClr val="tx1">
                <a:lumMod val="85000"/>
                <a:lumOff val="15000"/>
              </a:schemeClr>
            </a:solidFill>
            <a:ln w="28575">
              <a:gradFill>
                <a:gsLst>
                  <a:gs pos="0">
                    <a:srgbClr val="22BDBF"/>
                  </a:gs>
                  <a:gs pos="49000">
                    <a:srgbClr val="3C3795"/>
                  </a:gs>
                  <a:gs pos="10000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B43516-DEB9-FBA4-8DDF-E9B57E155CDF}"/>
                </a:ext>
              </a:extLst>
            </p:cNvPr>
            <p:cNvCxnSpPr/>
            <p:nvPr userDrawn="1"/>
          </p:nvCxnSpPr>
          <p:spPr>
            <a:xfrm>
              <a:off x="4061909" y="3538669"/>
              <a:ext cx="0" cy="661856"/>
            </a:xfrm>
            <a:prstGeom prst="line">
              <a:avLst/>
            </a:prstGeom>
            <a:solidFill>
              <a:schemeClr val="tx1">
                <a:lumMod val="85000"/>
                <a:lumOff val="15000"/>
              </a:schemeClr>
            </a:solidFill>
            <a:ln w="28575">
              <a:gradFill>
                <a:gsLst>
                  <a:gs pos="100000">
                    <a:srgbClr val="22BDBF"/>
                  </a:gs>
                  <a:gs pos="49000">
                    <a:srgbClr val="3C3795"/>
                  </a:gs>
                  <a:gs pos="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D8355B29-FEAB-2511-6B8B-85EAE599F3B0}"/>
              </a:ext>
            </a:extLst>
          </p:cNvPr>
          <p:cNvGrpSpPr/>
          <p:nvPr userDrawn="1"/>
        </p:nvGrpSpPr>
        <p:grpSpPr>
          <a:xfrm>
            <a:off x="4046669" y="6297507"/>
            <a:ext cx="3006907" cy="2343148"/>
            <a:chOff x="4061909" y="1565906"/>
            <a:chExt cx="3006907" cy="2634619"/>
          </a:xfrm>
        </p:grpSpPr>
        <p:cxnSp>
          <p:nvCxnSpPr>
            <p:cNvPr id="22" name="Straight Connector 21">
              <a:extLst>
                <a:ext uri="{FF2B5EF4-FFF2-40B4-BE49-F238E27FC236}">
                  <a16:creationId xmlns:a16="http://schemas.microsoft.com/office/drawing/2014/main" id="{FDCC5A5D-16DF-16BD-CC06-8FFD2D56B9AD}"/>
                </a:ext>
              </a:extLst>
            </p:cNvPr>
            <p:cNvCxnSpPr/>
            <p:nvPr userDrawn="1"/>
          </p:nvCxnSpPr>
          <p:spPr>
            <a:xfrm>
              <a:off x="7066852" y="1577903"/>
              <a:ext cx="1964" cy="2617423"/>
            </a:xfrm>
            <a:prstGeom prst="line">
              <a:avLst/>
            </a:prstGeom>
            <a:solidFill>
              <a:schemeClr val="tx1">
                <a:lumMod val="85000"/>
                <a:lumOff val="15000"/>
              </a:schemeClr>
            </a:solidFill>
            <a:ln w="28575">
              <a:gradFill>
                <a:gsLst>
                  <a:gs pos="0">
                    <a:srgbClr val="E8068C"/>
                  </a:gs>
                  <a:gs pos="49000">
                    <a:srgbClr val="3C3795"/>
                  </a:gs>
                  <a:gs pos="10000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4200D32-D2E3-6EF4-4AB4-FE81D985ED0C}"/>
                </a:ext>
              </a:extLst>
            </p:cNvPr>
            <p:cNvCxnSpPr/>
            <p:nvPr userDrawn="1"/>
          </p:nvCxnSpPr>
          <p:spPr>
            <a:xfrm>
              <a:off x="4061909" y="4195325"/>
              <a:ext cx="3004943" cy="0"/>
            </a:xfrm>
            <a:prstGeom prst="line">
              <a:avLst/>
            </a:prstGeom>
            <a:solidFill>
              <a:schemeClr val="tx1">
                <a:lumMod val="85000"/>
                <a:lumOff val="15000"/>
              </a:schemeClr>
            </a:solidFill>
            <a:ln w="28575">
              <a:gradFill>
                <a:gsLst>
                  <a:gs pos="0">
                    <a:srgbClr val="22BDBF"/>
                  </a:gs>
                  <a:gs pos="49000">
                    <a:srgbClr val="3C3795"/>
                  </a:gs>
                  <a:gs pos="100000">
                    <a:srgbClr val="E8068C"/>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C42A4F9-533C-1FE2-7333-80AF8EF0DFBC}"/>
                </a:ext>
              </a:extLst>
            </p:cNvPr>
            <p:cNvCxnSpPr/>
            <p:nvPr userDrawn="1"/>
          </p:nvCxnSpPr>
          <p:spPr>
            <a:xfrm>
              <a:off x="4061909" y="1577903"/>
              <a:ext cx="3004943" cy="0"/>
            </a:xfrm>
            <a:prstGeom prst="line">
              <a:avLst/>
            </a:prstGeom>
            <a:solidFill>
              <a:schemeClr val="tx1">
                <a:lumMod val="85000"/>
                <a:lumOff val="15000"/>
              </a:schemeClr>
            </a:solidFill>
            <a:ln w="28575">
              <a:gradFill>
                <a:gsLst>
                  <a:gs pos="0">
                    <a:srgbClr val="22BDBF"/>
                  </a:gs>
                  <a:gs pos="49000">
                    <a:srgbClr val="3C3795"/>
                  </a:gs>
                  <a:gs pos="100000">
                    <a:srgbClr val="E8068C"/>
                  </a:gs>
                </a:gsLst>
                <a:lin ang="0" scaled="0"/>
              </a:gra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C3E6E00-F62E-2279-BE2D-2F42BCD6CCB4}"/>
                </a:ext>
              </a:extLst>
            </p:cNvPr>
            <p:cNvCxnSpPr/>
            <p:nvPr userDrawn="1"/>
          </p:nvCxnSpPr>
          <p:spPr>
            <a:xfrm>
              <a:off x="4061909" y="1565906"/>
              <a:ext cx="0" cy="661856"/>
            </a:xfrm>
            <a:prstGeom prst="line">
              <a:avLst/>
            </a:prstGeom>
            <a:solidFill>
              <a:schemeClr val="tx1">
                <a:lumMod val="85000"/>
                <a:lumOff val="15000"/>
              </a:schemeClr>
            </a:solidFill>
            <a:ln w="28575">
              <a:gradFill>
                <a:gsLst>
                  <a:gs pos="0">
                    <a:srgbClr val="22BDBF"/>
                  </a:gs>
                  <a:gs pos="49000">
                    <a:srgbClr val="3C3795"/>
                  </a:gs>
                  <a:gs pos="10000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D9AC44-85D9-DC46-1C18-B37F9B9CBFCA}"/>
                </a:ext>
              </a:extLst>
            </p:cNvPr>
            <p:cNvCxnSpPr/>
            <p:nvPr userDrawn="1"/>
          </p:nvCxnSpPr>
          <p:spPr>
            <a:xfrm>
              <a:off x="4061909" y="3538669"/>
              <a:ext cx="0" cy="661856"/>
            </a:xfrm>
            <a:prstGeom prst="line">
              <a:avLst/>
            </a:prstGeom>
            <a:solidFill>
              <a:schemeClr val="tx1">
                <a:lumMod val="85000"/>
                <a:lumOff val="15000"/>
              </a:schemeClr>
            </a:solidFill>
            <a:ln w="28575">
              <a:gradFill>
                <a:gsLst>
                  <a:gs pos="100000">
                    <a:srgbClr val="22BDBF"/>
                  </a:gs>
                  <a:gs pos="49000">
                    <a:srgbClr val="3C3795"/>
                  </a:gs>
                  <a:gs pos="0">
                    <a:srgbClr val="E8068C"/>
                  </a:gs>
                </a:gsLst>
                <a:lin ang="5400000" scaled="1"/>
              </a:gra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3377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text slide 1">
    <p:spTree>
      <p:nvGrpSpPr>
        <p:cNvPr id="1" name=""/>
        <p:cNvGrpSpPr/>
        <p:nvPr/>
      </p:nvGrpSpPr>
      <p:grpSpPr>
        <a:xfrm>
          <a:off x="0" y="0"/>
          <a:ext cx="0" cy="0"/>
          <a:chOff x="0" y="0"/>
          <a:chExt cx="0" cy="0"/>
        </a:xfrm>
      </p:grpSpPr>
      <p:sp>
        <p:nvSpPr>
          <p:cNvPr id="29" name="Freeform 28">
            <a:extLst>
              <a:ext uri="{FF2B5EF4-FFF2-40B4-BE49-F238E27FC236}">
                <a16:creationId xmlns:a16="http://schemas.microsoft.com/office/drawing/2014/main" id="{DE81A3AF-2DF6-CA4C-A155-A676CC6434F5}"/>
              </a:ext>
            </a:extLst>
          </p:cNvPr>
          <p:cNvSpPr/>
          <p:nvPr userDrawn="1"/>
        </p:nvSpPr>
        <p:spPr>
          <a:xfrm>
            <a:off x="420974" y="268941"/>
            <a:ext cx="3284648" cy="9889385"/>
          </a:xfrm>
          <a:custGeom>
            <a:avLst/>
            <a:gdLst>
              <a:gd name="connsiteX0" fmla="*/ 1159533 w 1159533"/>
              <a:gd name="connsiteY0" fmla="*/ 3031200 h 3031200"/>
              <a:gd name="connsiteX1" fmla="*/ 301407 w 1159533"/>
              <a:gd name="connsiteY1" fmla="*/ 3031200 h 3031200"/>
              <a:gd name="connsiteX2" fmla="*/ 0 w 1159533"/>
              <a:gd name="connsiteY2" fmla="*/ 2729880 h 3031200"/>
              <a:gd name="connsiteX3" fmla="*/ 0 w 1159533"/>
              <a:gd name="connsiteY3" fmla="*/ 0 h 3031200"/>
              <a:gd name="connsiteX4" fmla="*/ 954274 w 1159533"/>
              <a:gd name="connsiteY4" fmla="*/ 0 h 3031200"/>
              <a:gd name="connsiteX5" fmla="*/ 1159533 w 1159533"/>
              <a:gd name="connsiteY5" fmla="*/ 205200 h 3031200"/>
              <a:gd name="connsiteX6" fmla="*/ 1159533 w 1159533"/>
              <a:gd name="connsiteY6" fmla="*/ 3031200 h 303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533" h="3031200">
                <a:moveTo>
                  <a:pt x="1159533" y="3031200"/>
                </a:moveTo>
                <a:lnTo>
                  <a:pt x="301407" y="3031200"/>
                </a:lnTo>
                <a:cubicBezTo>
                  <a:pt x="135039" y="3031200"/>
                  <a:pt x="0" y="2896200"/>
                  <a:pt x="0" y="2729880"/>
                </a:cubicBezTo>
                <a:lnTo>
                  <a:pt x="0" y="0"/>
                </a:lnTo>
                <a:lnTo>
                  <a:pt x="954274" y="0"/>
                </a:lnTo>
                <a:cubicBezTo>
                  <a:pt x="1067707" y="0"/>
                  <a:pt x="1159533" y="91800"/>
                  <a:pt x="1159533" y="205200"/>
                </a:cubicBezTo>
                <a:lnTo>
                  <a:pt x="1159533" y="3031200"/>
                </a:lnTo>
                <a:close/>
              </a:path>
            </a:pathLst>
          </a:custGeom>
          <a:solidFill>
            <a:srgbClr val="3C3795"/>
          </a:solidFill>
          <a:ln w="3598" cap="flat">
            <a:noFill/>
            <a:prstDash val="solid"/>
            <a:miter/>
          </a:ln>
        </p:spPr>
        <p:txBody>
          <a:bodyPr rtlCol="0" anchor="ctr"/>
          <a:lstStyle/>
          <a:p>
            <a:endParaRPr lang="en-US" b="0" i="0" dirty="0">
              <a:latin typeface="Calibri" panose="020F0502020204030204" pitchFamily="34" charset="0"/>
            </a:endParaRPr>
          </a:p>
        </p:txBody>
      </p:sp>
      <p:sp>
        <p:nvSpPr>
          <p:cNvPr id="378" name="Text Placeholder 32">
            <a:extLst>
              <a:ext uri="{FF2B5EF4-FFF2-40B4-BE49-F238E27FC236}">
                <a16:creationId xmlns:a16="http://schemas.microsoft.com/office/drawing/2014/main" id="{11382AE3-8A1D-D143-9FF3-2B2874F34CA0}"/>
              </a:ext>
            </a:extLst>
          </p:cNvPr>
          <p:cNvSpPr>
            <a:spLocks noGrp="1"/>
          </p:cNvSpPr>
          <p:nvPr>
            <p:ph type="body" sz="quarter" idx="30" hasCustomPrompt="1"/>
          </p:nvPr>
        </p:nvSpPr>
        <p:spPr>
          <a:xfrm>
            <a:off x="683565" y="1027561"/>
            <a:ext cx="2864232" cy="879667"/>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379" name="Text Placeholder 32">
            <a:extLst>
              <a:ext uri="{FF2B5EF4-FFF2-40B4-BE49-F238E27FC236}">
                <a16:creationId xmlns:a16="http://schemas.microsoft.com/office/drawing/2014/main" id="{A54007D5-E3AF-D04F-99D9-03A0ED2A386B}"/>
              </a:ext>
            </a:extLst>
          </p:cNvPr>
          <p:cNvSpPr>
            <a:spLocks noGrp="1"/>
          </p:cNvSpPr>
          <p:nvPr>
            <p:ph type="body" sz="quarter" idx="32" hasCustomPrompt="1"/>
          </p:nvPr>
        </p:nvSpPr>
        <p:spPr>
          <a:xfrm>
            <a:off x="683565" y="2424204"/>
            <a:ext cx="2693750" cy="7339954"/>
          </a:xfrm>
          <a:prstGeom prst="rect">
            <a:avLst/>
          </a:prstGeom>
        </p:spPr>
        <p:txBody>
          <a:bodyPr anchor="t">
            <a:noAutofit/>
          </a:bodyPr>
          <a:lstStyle>
            <a:lvl1pPr marL="0" indent="0" algn="l">
              <a:lnSpc>
                <a:spcPct val="100000"/>
              </a:lnSpc>
              <a:spcBef>
                <a:spcPts val="0"/>
              </a:spcBef>
              <a:buNone/>
              <a:defRPr sz="1100" b="0"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a:t>
            </a:r>
            <a:endParaRPr lang="en-US" dirty="0"/>
          </a:p>
        </p:txBody>
      </p:sp>
      <p:sp>
        <p:nvSpPr>
          <p:cNvPr id="388" name="Picture Placeholder 387">
            <a:extLst>
              <a:ext uri="{FF2B5EF4-FFF2-40B4-BE49-F238E27FC236}">
                <a16:creationId xmlns:a16="http://schemas.microsoft.com/office/drawing/2014/main" id="{7E7D4303-6A3B-F749-8FA0-836953666012}"/>
              </a:ext>
            </a:extLst>
          </p:cNvPr>
          <p:cNvSpPr>
            <a:spLocks noGrp="1"/>
          </p:cNvSpPr>
          <p:nvPr>
            <p:ph type="pic" sz="quarter" idx="41"/>
          </p:nvPr>
        </p:nvSpPr>
        <p:spPr>
          <a:xfrm>
            <a:off x="3705622" y="1178454"/>
            <a:ext cx="3854053" cy="8334904"/>
          </a:xfrm>
          <a:custGeom>
            <a:avLst/>
            <a:gdLst>
              <a:gd name="connsiteX0" fmla="*/ 0 w 3854053"/>
              <a:gd name="connsiteY0" fmla="*/ 995752 h 8334904"/>
              <a:gd name="connsiteX1" fmla="*/ 3852079 w 3854053"/>
              <a:gd name="connsiteY1" fmla="*/ 995752 h 8334904"/>
              <a:gd name="connsiteX2" fmla="*/ 3852079 w 3854053"/>
              <a:gd name="connsiteY2" fmla="*/ 3188374 h 8334904"/>
              <a:gd name="connsiteX3" fmla="*/ 3854053 w 3854053"/>
              <a:gd name="connsiteY3" fmla="*/ 3188374 h 8334904"/>
              <a:gd name="connsiteX4" fmla="*/ 3854053 w 3854053"/>
              <a:gd name="connsiteY4" fmla="*/ 8027939 h 8334904"/>
              <a:gd name="connsiteX5" fmla="*/ 3852079 w 3854053"/>
              <a:gd name="connsiteY5" fmla="*/ 8027939 h 8334904"/>
              <a:gd name="connsiteX6" fmla="*/ 3852079 w 3854053"/>
              <a:gd name="connsiteY6" fmla="*/ 8334904 h 8334904"/>
              <a:gd name="connsiteX7" fmla="*/ 0 w 3854053"/>
              <a:gd name="connsiteY7" fmla="*/ 8334904 h 8334904"/>
              <a:gd name="connsiteX8" fmla="*/ 0 w 3854053"/>
              <a:gd name="connsiteY8" fmla="*/ 0 h 8334904"/>
              <a:gd name="connsiteX9" fmla="*/ 3852079 w 3854053"/>
              <a:gd name="connsiteY9" fmla="*/ 0 h 8334904"/>
              <a:gd name="connsiteX10" fmla="*/ 3852079 w 3854053"/>
              <a:gd name="connsiteY10" fmla="*/ 941961 h 8334904"/>
              <a:gd name="connsiteX11" fmla="*/ 0 w 3854053"/>
              <a:gd name="connsiteY11" fmla="*/ 941961 h 833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4053" h="8334904">
                <a:moveTo>
                  <a:pt x="0" y="995752"/>
                </a:moveTo>
                <a:lnTo>
                  <a:pt x="3852079" y="995752"/>
                </a:lnTo>
                <a:lnTo>
                  <a:pt x="3852079" y="3188374"/>
                </a:lnTo>
                <a:lnTo>
                  <a:pt x="3854053" y="3188374"/>
                </a:lnTo>
                <a:lnTo>
                  <a:pt x="3854053" y="8027939"/>
                </a:lnTo>
                <a:lnTo>
                  <a:pt x="3852079" y="8027939"/>
                </a:lnTo>
                <a:lnTo>
                  <a:pt x="3852079" y="8334904"/>
                </a:lnTo>
                <a:lnTo>
                  <a:pt x="0" y="8334904"/>
                </a:lnTo>
                <a:close/>
                <a:moveTo>
                  <a:pt x="0" y="0"/>
                </a:moveTo>
                <a:lnTo>
                  <a:pt x="3852079" y="0"/>
                </a:lnTo>
                <a:lnTo>
                  <a:pt x="3852079" y="941961"/>
                </a:lnTo>
                <a:lnTo>
                  <a:pt x="0" y="941961"/>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31" name="Freeform 30">
            <a:extLst>
              <a:ext uri="{FF2B5EF4-FFF2-40B4-BE49-F238E27FC236}">
                <a16:creationId xmlns:a16="http://schemas.microsoft.com/office/drawing/2014/main" id="{5B1B9CA5-0E21-E740-9234-251FA1CB61D0}"/>
              </a:ext>
            </a:extLst>
          </p:cNvPr>
          <p:cNvSpPr/>
          <p:nvPr userDrawn="1"/>
        </p:nvSpPr>
        <p:spPr>
          <a:xfrm rot="10800000">
            <a:off x="1677895" y="2120415"/>
            <a:ext cx="5914090" cy="53791"/>
          </a:xfrm>
          <a:custGeom>
            <a:avLst/>
            <a:gdLst>
              <a:gd name="connsiteX0" fmla="*/ 5914090 w 5914090"/>
              <a:gd name="connsiteY0" fmla="*/ 53791 h 53791"/>
              <a:gd name="connsiteX1" fmla="*/ 0 w 5914090"/>
              <a:gd name="connsiteY1" fmla="*/ 53791 h 53791"/>
              <a:gd name="connsiteX2" fmla="*/ 0 w 5914090"/>
              <a:gd name="connsiteY2" fmla="*/ 0 h 53791"/>
              <a:gd name="connsiteX3" fmla="*/ 5914090 w 5914090"/>
              <a:gd name="connsiteY3" fmla="*/ 0 h 53791"/>
            </a:gdLst>
            <a:ahLst/>
            <a:cxnLst>
              <a:cxn ang="0">
                <a:pos x="connsiteX0" y="connsiteY0"/>
              </a:cxn>
              <a:cxn ang="0">
                <a:pos x="connsiteX1" y="connsiteY1"/>
              </a:cxn>
              <a:cxn ang="0">
                <a:pos x="connsiteX2" y="connsiteY2"/>
              </a:cxn>
              <a:cxn ang="0">
                <a:pos x="connsiteX3" y="connsiteY3"/>
              </a:cxn>
            </a:cxnLst>
            <a:rect l="l" t="t" r="r" b="b"/>
            <a:pathLst>
              <a:path w="5914090" h="53791">
                <a:moveTo>
                  <a:pt x="5914090" y="53791"/>
                </a:moveTo>
                <a:lnTo>
                  <a:pt x="0" y="53791"/>
                </a:lnTo>
                <a:lnTo>
                  <a:pt x="0" y="0"/>
                </a:lnTo>
                <a:lnTo>
                  <a:pt x="5914090" y="0"/>
                </a:lnTo>
                <a:close/>
              </a:path>
            </a:pathLst>
          </a:custGeom>
          <a:gradFill>
            <a:gsLst>
              <a:gs pos="0">
                <a:srgbClr val="E8068C"/>
              </a:gs>
              <a:gs pos="100000">
                <a:srgbClr val="22BDBF"/>
              </a:gs>
              <a:gs pos="45000">
                <a:srgbClr val="3C3795"/>
              </a:gs>
            </a:gsLst>
            <a:lin ang="0" scaled="0"/>
          </a:gradFill>
          <a:ln w="7702" cap="flat">
            <a:solidFill>
              <a:srgbClr val="75B543"/>
            </a:solidFill>
            <a:prstDash val="solid"/>
            <a:miter/>
          </a:ln>
        </p:spPr>
        <p:txBody>
          <a:bodyPr wrap="square" rtlCol="0" anchor="ctr">
            <a:noAutofit/>
          </a:bodyPr>
          <a:lstStyle/>
          <a:p>
            <a:endParaRPr lang="en-US" b="0" i="0" dirty="0">
              <a:latin typeface="Calibri" panose="020F0502020204030204" pitchFamily="34" charset="0"/>
            </a:endParaRPr>
          </a:p>
        </p:txBody>
      </p:sp>
      <p:sp>
        <p:nvSpPr>
          <p:cNvPr id="390" name="Slide Number Placeholder 5">
            <a:extLst>
              <a:ext uri="{FF2B5EF4-FFF2-40B4-BE49-F238E27FC236}">
                <a16:creationId xmlns:a16="http://schemas.microsoft.com/office/drawing/2014/main" id="{C8C57F0D-E616-E745-97BA-83348B7B3BE0}"/>
              </a:ext>
            </a:extLst>
          </p:cNvPr>
          <p:cNvSpPr>
            <a:spLocks noGrp="1"/>
          </p:cNvSpPr>
          <p:nvPr>
            <p:ph type="sldNum" sz="quarter" idx="4"/>
          </p:nvPr>
        </p:nvSpPr>
        <p:spPr>
          <a:xfrm>
            <a:off x="6200636" y="10046928"/>
            <a:ext cx="1047264" cy="465822"/>
          </a:xfrm>
          <a:prstGeom prst="rect">
            <a:avLst/>
          </a:prstGeom>
        </p:spPr>
        <p:txBody>
          <a:bodyPr vert="horz" lIns="91440" tIns="45720" rIns="91440" bIns="45720" rtlCol="0" anchor="ctr"/>
          <a:lstStyle>
            <a:lvl1pPr algn="r">
              <a:defRPr sz="900" b="0" i="0">
                <a:solidFill>
                  <a:srgbClr val="000000"/>
                </a:solidFill>
                <a:latin typeface="Calibri" panose="020F0502020204030204" pitchFamily="34" charset="0"/>
              </a:defRPr>
            </a:lvl1pPr>
          </a:lstStyle>
          <a:p>
            <a:fld id="{CB2079F2-58AF-ED44-82D7-E04B2F6FD686}" type="slidenum">
              <a:rPr lang="en-US" smtClean="0"/>
              <a:pPr/>
              <a:t>‹Nr.›</a:t>
            </a:fld>
            <a:endParaRPr lang="en-US" dirty="0"/>
          </a:p>
        </p:txBody>
      </p:sp>
    </p:spTree>
    <p:extLst>
      <p:ext uri="{BB962C8B-B14F-4D97-AF65-F5344CB8AC3E}">
        <p14:creationId xmlns:p14="http://schemas.microsoft.com/office/powerpoint/2010/main" val="1736404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2D6797-1C1B-E5AF-5184-CE1B180D4F71}"/>
              </a:ext>
            </a:extLst>
          </p:cNvPr>
          <p:cNvSpPr/>
          <p:nvPr userDrawn="1"/>
        </p:nvSpPr>
        <p:spPr>
          <a:xfrm>
            <a:off x="0" y="0"/>
            <a:ext cx="7559675" cy="10691813"/>
          </a:xfrm>
          <a:prstGeom prst="rect">
            <a:avLst/>
          </a:prstGeom>
          <a:solidFill>
            <a:srgbClr val="3C379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raphic 7">
            <a:extLst>
              <a:ext uri="{FF2B5EF4-FFF2-40B4-BE49-F238E27FC236}">
                <a16:creationId xmlns:a16="http://schemas.microsoft.com/office/drawing/2014/main" id="{CA21CB44-46A0-AC0C-A663-447C61BE53CE}"/>
              </a:ext>
            </a:extLst>
          </p:cNvPr>
          <p:cNvSpPr/>
          <p:nvPr userDrawn="1"/>
        </p:nvSpPr>
        <p:spPr>
          <a:xfrm>
            <a:off x="5305124" y="759759"/>
            <a:ext cx="2565016" cy="2084294"/>
          </a:xfrm>
          <a:custGeom>
            <a:avLst/>
            <a:gdLst>
              <a:gd name="connsiteX0" fmla="*/ 790618 w 1279343"/>
              <a:gd name="connsiteY0" fmla="*/ 338443 h 1039575"/>
              <a:gd name="connsiteX1" fmla="*/ 683241 w 1279343"/>
              <a:gd name="connsiteY1" fmla="*/ 400320 h 1039575"/>
              <a:gd name="connsiteX2" fmla="*/ 619575 w 1279343"/>
              <a:gd name="connsiteY2" fmla="*/ 396513 h 1039575"/>
              <a:gd name="connsiteX3" fmla="*/ 446632 w 1279343"/>
              <a:gd name="connsiteY3" fmla="*/ 333683 h 1039575"/>
              <a:gd name="connsiteX4" fmla="*/ 403871 w 1279343"/>
              <a:gd name="connsiteY4" fmla="*/ 547875 h 1039575"/>
              <a:gd name="connsiteX5" fmla="*/ 582516 w 1279343"/>
              <a:gd name="connsiteY5" fmla="*/ 770635 h 1039575"/>
              <a:gd name="connsiteX6" fmla="*/ 790618 w 1279343"/>
              <a:gd name="connsiteY6" fmla="*/ 680198 h 1039575"/>
              <a:gd name="connsiteX7" fmla="*/ 921751 w 1279343"/>
              <a:gd name="connsiteY7" fmla="*/ 471718 h 1039575"/>
              <a:gd name="connsiteX8" fmla="*/ 790618 w 1279343"/>
              <a:gd name="connsiteY8" fmla="*/ 338443 h 1039575"/>
              <a:gd name="connsiteX9" fmla="*/ 790618 w 1279343"/>
              <a:gd name="connsiteY9" fmla="*/ 338443 h 1039575"/>
              <a:gd name="connsiteX10" fmla="*/ 994919 w 1279343"/>
              <a:gd name="connsiteY10" fmla="*/ 471718 h 1039575"/>
              <a:gd name="connsiteX11" fmla="*/ 835279 w 1279343"/>
              <a:gd name="connsiteY11" fmla="*/ 739221 h 1039575"/>
              <a:gd name="connsiteX12" fmla="*/ 659485 w 1279343"/>
              <a:gd name="connsiteY12" fmla="*/ 829657 h 1039575"/>
              <a:gd name="connsiteX13" fmla="*/ 958810 w 1279343"/>
              <a:gd name="connsiteY13" fmla="*/ 965788 h 1039575"/>
              <a:gd name="connsiteX14" fmla="*/ 957860 w 1279343"/>
              <a:gd name="connsiteY14" fmla="*/ 942941 h 1039575"/>
              <a:gd name="connsiteX15" fmla="*/ 961661 w 1279343"/>
              <a:gd name="connsiteY15" fmla="*/ 808714 h 1039575"/>
              <a:gd name="connsiteX16" fmla="*/ 1116549 w 1279343"/>
              <a:gd name="connsiteY16" fmla="*/ 722085 h 1039575"/>
              <a:gd name="connsiteX17" fmla="*/ 1146007 w 1279343"/>
              <a:gd name="connsiteY17" fmla="*/ 317500 h 1039575"/>
              <a:gd name="connsiteX18" fmla="*/ 677540 w 1279343"/>
              <a:gd name="connsiteY18" fmla="*/ 74748 h 1039575"/>
              <a:gd name="connsiteX19" fmla="*/ 247082 w 1279343"/>
              <a:gd name="connsiteY19" fmla="*/ 191840 h 1039575"/>
              <a:gd name="connsiteX20" fmla="*/ 85542 w 1279343"/>
              <a:gd name="connsiteY20" fmla="*/ 407936 h 1039575"/>
              <a:gd name="connsiteX21" fmla="*/ 218575 w 1279343"/>
              <a:gd name="connsiteY21" fmla="*/ 696382 h 1039575"/>
              <a:gd name="connsiteX22" fmla="*/ 474189 w 1279343"/>
              <a:gd name="connsiteY22" fmla="*/ 769684 h 1039575"/>
              <a:gd name="connsiteX23" fmla="*/ 337355 w 1279343"/>
              <a:gd name="connsiteY23" fmla="*/ 577386 h 1039575"/>
              <a:gd name="connsiteX24" fmla="*/ 415274 w 1279343"/>
              <a:gd name="connsiteY24" fmla="*/ 267045 h 1039575"/>
              <a:gd name="connsiteX25" fmla="*/ 657585 w 1279343"/>
              <a:gd name="connsiteY25" fmla="*/ 318451 h 1039575"/>
              <a:gd name="connsiteX26" fmla="*/ 790618 w 1279343"/>
              <a:gd name="connsiteY26" fmla="*/ 264189 h 1039575"/>
              <a:gd name="connsiteX27" fmla="*/ 995869 w 1279343"/>
              <a:gd name="connsiteY27" fmla="*/ 471718 h 1039575"/>
              <a:gd name="connsiteX28" fmla="*/ 995869 w 1279343"/>
              <a:gd name="connsiteY28" fmla="*/ 471718 h 1039575"/>
              <a:gd name="connsiteX29" fmla="*/ 557810 w 1279343"/>
              <a:gd name="connsiteY29" fmla="*/ 846793 h 1039575"/>
              <a:gd name="connsiteX30" fmla="*/ 178665 w 1279343"/>
              <a:gd name="connsiteY30" fmla="*/ 761116 h 1039575"/>
              <a:gd name="connsiteX31" fmla="*/ 12373 w 1279343"/>
              <a:gd name="connsiteY31" fmla="*/ 388897 h 1039575"/>
              <a:gd name="connsiteX32" fmla="*/ 200521 w 1279343"/>
              <a:gd name="connsiteY32" fmla="*/ 132818 h 1039575"/>
              <a:gd name="connsiteX33" fmla="*/ 679440 w 1279343"/>
              <a:gd name="connsiteY33" fmla="*/ 1447 h 1039575"/>
              <a:gd name="connsiteX34" fmla="*/ 1203021 w 1279343"/>
              <a:gd name="connsiteY34" fmla="*/ 273709 h 1039575"/>
              <a:gd name="connsiteX35" fmla="*/ 1158360 w 1279343"/>
              <a:gd name="connsiteY35" fmla="*/ 781107 h 1039575"/>
              <a:gd name="connsiteX36" fmla="*/ 1019625 w 1279343"/>
              <a:gd name="connsiteY36" fmla="*/ 851552 h 1039575"/>
              <a:gd name="connsiteX37" fmla="*/ 1025327 w 1279343"/>
              <a:gd name="connsiteY37" fmla="*/ 917238 h 1039575"/>
              <a:gd name="connsiteX38" fmla="*/ 952158 w 1279343"/>
              <a:gd name="connsiteY38" fmla="*/ 1039090 h 1039575"/>
              <a:gd name="connsiteX39" fmla="*/ 556860 w 1279343"/>
              <a:gd name="connsiteY39" fmla="*/ 846793 h 1039575"/>
              <a:gd name="connsiteX40" fmla="*/ 556860 w 1279343"/>
              <a:gd name="connsiteY40" fmla="*/ 846793 h 10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79343" h="1039575">
                <a:moveTo>
                  <a:pt x="790618" y="338443"/>
                </a:moveTo>
                <a:cubicBezTo>
                  <a:pt x="745957" y="338443"/>
                  <a:pt x="707947" y="363194"/>
                  <a:pt x="683241" y="400320"/>
                </a:cubicBezTo>
                <a:cubicBezTo>
                  <a:pt x="668037" y="424120"/>
                  <a:pt x="631928" y="422216"/>
                  <a:pt x="619575" y="396513"/>
                </a:cubicBezTo>
                <a:cubicBezTo>
                  <a:pt x="587267" y="330827"/>
                  <a:pt x="512198" y="301316"/>
                  <a:pt x="446632" y="333683"/>
                </a:cubicBezTo>
                <a:cubicBezTo>
                  <a:pt x="362061" y="375569"/>
                  <a:pt x="370613" y="474574"/>
                  <a:pt x="403871" y="547875"/>
                </a:cubicBezTo>
                <a:cubicBezTo>
                  <a:pt x="441881" y="632600"/>
                  <a:pt x="512198" y="710662"/>
                  <a:pt x="582516" y="770635"/>
                </a:cubicBezTo>
                <a:cubicBezTo>
                  <a:pt x="654734" y="761116"/>
                  <a:pt x="728853" y="727797"/>
                  <a:pt x="790618" y="680198"/>
                </a:cubicBezTo>
                <a:cubicBezTo>
                  <a:pt x="852384" y="632600"/>
                  <a:pt x="920801" y="554539"/>
                  <a:pt x="921751" y="471718"/>
                </a:cubicBezTo>
                <a:cubicBezTo>
                  <a:pt x="921751" y="398417"/>
                  <a:pt x="864737" y="336539"/>
                  <a:pt x="790618" y="338443"/>
                </a:cubicBezTo>
                <a:lnTo>
                  <a:pt x="790618" y="338443"/>
                </a:lnTo>
                <a:close/>
                <a:moveTo>
                  <a:pt x="994919" y="471718"/>
                </a:moveTo>
                <a:cubicBezTo>
                  <a:pt x="994919" y="579290"/>
                  <a:pt x="917000" y="676391"/>
                  <a:pt x="835279" y="739221"/>
                </a:cubicBezTo>
                <a:cubicBezTo>
                  <a:pt x="783016" y="779203"/>
                  <a:pt x="722201" y="811570"/>
                  <a:pt x="659485" y="829657"/>
                </a:cubicBezTo>
                <a:cubicBezTo>
                  <a:pt x="723151" y="873448"/>
                  <a:pt x="883741" y="960077"/>
                  <a:pt x="958810" y="965788"/>
                </a:cubicBezTo>
                <a:cubicBezTo>
                  <a:pt x="963561" y="965788"/>
                  <a:pt x="963561" y="960077"/>
                  <a:pt x="957860" y="942941"/>
                </a:cubicBezTo>
                <a:cubicBezTo>
                  <a:pt x="935054" y="880111"/>
                  <a:pt x="939805" y="839177"/>
                  <a:pt x="961661" y="808714"/>
                </a:cubicBezTo>
                <a:cubicBezTo>
                  <a:pt x="996820" y="760164"/>
                  <a:pt x="1067137" y="759212"/>
                  <a:pt x="1116549" y="722085"/>
                </a:cubicBezTo>
                <a:cubicBezTo>
                  <a:pt x="1236279" y="633552"/>
                  <a:pt x="1228678" y="430783"/>
                  <a:pt x="1146007" y="317500"/>
                </a:cubicBezTo>
                <a:cubicBezTo>
                  <a:pt x="1035779" y="168041"/>
                  <a:pt x="861886" y="86171"/>
                  <a:pt x="677540" y="74748"/>
                </a:cubicBezTo>
                <a:cubicBezTo>
                  <a:pt x="519800" y="65228"/>
                  <a:pt x="362061" y="106163"/>
                  <a:pt x="247082" y="191840"/>
                </a:cubicBezTo>
                <a:cubicBezTo>
                  <a:pt x="176765" y="244198"/>
                  <a:pt x="109298" y="322259"/>
                  <a:pt x="85542" y="407936"/>
                </a:cubicBezTo>
                <a:cubicBezTo>
                  <a:pt x="51333" y="530740"/>
                  <a:pt x="113099" y="634504"/>
                  <a:pt x="218575" y="696382"/>
                </a:cubicBezTo>
                <a:cubicBezTo>
                  <a:pt x="284141" y="735413"/>
                  <a:pt x="369663" y="761116"/>
                  <a:pt x="474189" y="769684"/>
                </a:cubicBezTo>
                <a:cubicBezTo>
                  <a:pt x="413374" y="707806"/>
                  <a:pt x="365862" y="642120"/>
                  <a:pt x="337355" y="577386"/>
                </a:cubicBezTo>
                <a:cubicBezTo>
                  <a:pt x="286992" y="465054"/>
                  <a:pt x="293644" y="327019"/>
                  <a:pt x="415274" y="267045"/>
                </a:cubicBezTo>
                <a:cubicBezTo>
                  <a:pt x="497945" y="226111"/>
                  <a:pt x="597720" y="247054"/>
                  <a:pt x="657585" y="318451"/>
                </a:cubicBezTo>
                <a:cubicBezTo>
                  <a:pt x="693694" y="284181"/>
                  <a:pt x="741206" y="265141"/>
                  <a:pt x="790618" y="264189"/>
                </a:cubicBezTo>
                <a:cubicBezTo>
                  <a:pt x="905597" y="262285"/>
                  <a:pt x="996820" y="356530"/>
                  <a:pt x="995869" y="471718"/>
                </a:cubicBezTo>
                <a:lnTo>
                  <a:pt x="995869" y="471718"/>
                </a:lnTo>
                <a:close/>
                <a:moveTo>
                  <a:pt x="557810" y="846793"/>
                </a:moveTo>
                <a:cubicBezTo>
                  <a:pt x="435229" y="851552"/>
                  <a:pt x="285092" y="823945"/>
                  <a:pt x="178665" y="761116"/>
                </a:cubicBezTo>
                <a:cubicBezTo>
                  <a:pt x="44682" y="681151"/>
                  <a:pt x="-31337" y="545019"/>
                  <a:pt x="12373" y="388897"/>
                </a:cubicBezTo>
                <a:cubicBezTo>
                  <a:pt x="40881" y="287988"/>
                  <a:pt x="116900" y="194696"/>
                  <a:pt x="200521" y="132818"/>
                </a:cubicBezTo>
                <a:cubicBezTo>
                  <a:pt x="329753" y="37621"/>
                  <a:pt x="504597" y="-9025"/>
                  <a:pt x="679440" y="1447"/>
                </a:cubicBezTo>
                <a:cubicBezTo>
                  <a:pt x="886592" y="14774"/>
                  <a:pt x="1080441" y="107115"/>
                  <a:pt x="1203021" y="273709"/>
                </a:cubicBezTo>
                <a:cubicBezTo>
                  <a:pt x="1310398" y="419360"/>
                  <a:pt x="1312298" y="667823"/>
                  <a:pt x="1158360" y="781107"/>
                </a:cubicBezTo>
                <a:cubicBezTo>
                  <a:pt x="1124151" y="806810"/>
                  <a:pt x="1031028" y="835369"/>
                  <a:pt x="1019625" y="851552"/>
                </a:cubicBezTo>
                <a:cubicBezTo>
                  <a:pt x="1012023" y="862024"/>
                  <a:pt x="1012974" y="881063"/>
                  <a:pt x="1025327" y="917238"/>
                </a:cubicBezTo>
                <a:cubicBezTo>
                  <a:pt x="1060486" y="1014339"/>
                  <a:pt x="1022476" y="1043850"/>
                  <a:pt x="952158" y="1039090"/>
                </a:cubicBezTo>
                <a:cubicBezTo>
                  <a:pt x="840981" y="1031474"/>
                  <a:pt x="642381" y="914382"/>
                  <a:pt x="556860" y="846793"/>
                </a:cubicBezTo>
                <a:lnTo>
                  <a:pt x="556860" y="846793"/>
                </a:lnTo>
                <a:close/>
              </a:path>
            </a:pathLst>
          </a:custGeom>
          <a:solidFill>
            <a:schemeClr val="bg1">
              <a:alpha val="19374"/>
            </a:schemeClr>
          </a:solidFill>
          <a:ln w="950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609D48-3161-394E-8C0A-B39FACB9B391}"/>
              </a:ext>
            </a:extLst>
          </p:cNvPr>
          <p:cNvSpPr/>
          <p:nvPr userDrawn="1"/>
        </p:nvSpPr>
        <p:spPr>
          <a:xfrm>
            <a:off x="329559" y="2233076"/>
            <a:ext cx="6900556" cy="7768174"/>
          </a:xfrm>
          <a:custGeom>
            <a:avLst/>
            <a:gdLst>
              <a:gd name="connsiteX0" fmla="*/ 1965445 w 1965444"/>
              <a:gd name="connsiteY0" fmla="*/ 2136600 h 2136600"/>
              <a:gd name="connsiteX1" fmla="*/ 301407 w 1965444"/>
              <a:gd name="connsiteY1" fmla="*/ 2136600 h 2136600"/>
              <a:gd name="connsiteX2" fmla="*/ 0 w 1965444"/>
              <a:gd name="connsiteY2" fmla="*/ 1835280 h 2136600"/>
              <a:gd name="connsiteX3" fmla="*/ 0 w 1965444"/>
              <a:gd name="connsiteY3" fmla="*/ 0 h 2136600"/>
              <a:gd name="connsiteX4" fmla="*/ 1760186 w 1965444"/>
              <a:gd name="connsiteY4" fmla="*/ 0 h 2136600"/>
              <a:gd name="connsiteX5" fmla="*/ 1965445 w 1965444"/>
              <a:gd name="connsiteY5" fmla="*/ 205200 h 2136600"/>
              <a:gd name="connsiteX6" fmla="*/ 1965445 w 1965444"/>
              <a:gd name="connsiteY6" fmla="*/ 2136600 h 2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444" h="2136600">
                <a:moveTo>
                  <a:pt x="1965445" y="2136600"/>
                </a:moveTo>
                <a:lnTo>
                  <a:pt x="301407" y="2136600"/>
                </a:lnTo>
                <a:cubicBezTo>
                  <a:pt x="135039" y="2136600"/>
                  <a:pt x="0" y="2001600"/>
                  <a:pt x="0" y="1835280"/>
                </a:cubicBezTo>
                <a:lnTo>
                  <a:pt x="0" y="0"/>
                </a:lnTo>
                <a:lnTo>
                  <a:pt x="1760186" y="0"/>
                </a:lnTo>
                <a:cubicBezTo>
                  <a:pt x="1873619" y="0"/>
                  <a:pt x="1965445" y="91800"/>
                  <a:pt x="1965445" y="205200"/>
                </a:cubicBezTo>
                <a:lnTo>
                  <a:pt x="1965445" y="2136600"/>
                </a:lnTo>
                <a:close/>
              </a:path>
            </a:pathLst>
          </a:custGeom>
          <a:solidFill>
            <a:schemeClr val="bg1"/>
          </a:solidFill>
          <a:ln w="3598" cap="flat">
            <a:noFill/>
            <a:prstDash val="solid"/>
            <a:miter/>
          </a:ln>
        </p:spPr>
        <p:txBody>
          <a:bodyPr rtlCol="0" anchor="ctr"/>
          <a:lstStyle/>
          <a:p>
            <a:endParaRPr lang="en-US" b="0" i="0" dirty="0">
              <a:latin typeface="Calibri" panose="020F0502020204030204" pitchFamily="34" charset="0"/>
            </a:endParaRPr>
          </a:p>
        </p:txBody>
      </p:sp>
      <p:sp>
        <p:nvSpPr>
          <p:cNvPr id="334" name="Text Placeholder 32">
            <a:extLst>
              <a:ext uri="{FF2B5EF4-FFF2-40B4-BE49-F238E27FC236}">
                <a16:creationId xmlns:a16="http://schemas.microsoft.com/office/drawing/2014/main" id="{3D2FCAC4-8FFC-9E44-A348-FCF3F5BFF6E9}"/>
              </a:ext>
            </a:extLst>
          </p:cNvPr>
          <p:cNvSpPr>
            <a:spLocks noGrp="1"/>
          </p:cNvSpPr>
          <p:nvPr>
            <p:ph type="body" sz="quarter" idx="32" hasCustomPrompt="1"/>
          </p:nvPr>
        </p:nvSpPr>
        <p:spPr>
          <a:xfrm>
            <a:off x="903720" y="2484183"/>
            <a:ext cx="6143488" cy="6820641"/>
          </a:xfrm>
          <a:prstGeom prst="rect">
            <a:avLst/>
          </a:prstGeom>
        </p:spPr>
        <p:txBody>
          <a:bodyPr numCol="2" spcCol="288000" anchor="t">
            <a:noAutofit/>
          </a:bodyPr>
          <a:lstStyle>
            <a:lvl1pPr marL="0" indent="0" algn="just">
              <a:lnSpc>
                <a:spcPct val="100000"/>
              </a:lnSpc>
              <a:spcBef>
                <a:spcPts val="0"/>
              </a:spcBef>
              <a:buNone/>
              <a:defRPr sz="1100" b="0" i="0">
                <a:solidFill>
                  <a:srgbClr val="595959"/>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Click to type (2 </a:t>
            </a:r>
            <a:r>
              <a:rPr lang="en-GB" dirty="0" err="1"/>
              <a:t>Colums</a:t>
            </a:r>
            <a:r>
              <a:rPr lang="en-GB" dirty="0"/>
              <a:t>)</a:t>
            </a:r>
            <a:endParaRPr lang="en-US" dirty="0"/>
          </a:p>
        </p:txBody>
      </p:sp>
      <p:sp>
        <p:nvSpPr>
          <p:cNvPr id="3" name="Freeform 2">
            <a:extLst>
              <a:ext uri="{FF2B5EF4-FFF2-40B4-BE49-F238E27FC236}">
                <a16:creationId xmlns:a16="http://schemas.microsoft.com/office/drawing/2014/main" id="{29638F25-1726-09CA-717F-BE1F3DD1EDE2}"/>
              </a:ext>
            </a:extLst>
          </p:cNvPr>
          <p:cNvSpPr/>
          <p:nvPr userDrawn="1"/>
        </p:nvSpPr>
        <p:spPr>
          <a:xfrm>
            <a:off x="0" y="651920"/>
            <a:ext cx="5834994" cy="715523"/>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gradFill>
            <a:gsLst>
              <a:gs pos="0">
                <a:srgbClr val="E8068C"/>
              </a:gs>
              <a:gs pos="100000">
                <a:srgbClr val="22BDBF"/>
              </a:gs>
              <a:gs pos="45000">
                <a:srgbClr val="3C379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2">
            <a:extLst>
              <a:ext uri="{FF2B5EF4-FFF2-40B4-BE49-F238E27FC236}">
                <a16:creationId xmlns:a16="http://schemas.microsoft.com/office/drawing/2014/main" id="{826EF213-03A9-2433-6585-15D3E1E17DAE}"/>
              </a:ext>
            </a:extLst>
          </p:cNvPr>
          <p:cNvSpPr>
            <a:spLocks noGrp="1"/>
          </p:cNvSpPr>
          <p:nvPr>
            <p:ph type="body" sz="quarter" idx="30" hasCustomPrompt="1"/>
          </p:nvPr>
        </p:nvSpPr>
        <p:spPr>
          <a:xfrm>
            <a:off x="494393" y="850751"/>
            <a:ext cx="6570888" cy="785535"/>
          </a:xfrm>
          <a:prstGeom prst="rect">
            <a:avLst/>
          </a:prstGeom>
        </p:spPr>
        <p:txBody>
          <a:bodyPr>
            <a:noAutofit/>
          </a:bodyPr>
          <a:lstStyle>
            <a:lvl1pPr marL="0" indent="0" algn="l">
              <a:buNone/>
              <a:defRPr sz="2200" b="1" i="0">
                <a:solidFill>
                  <a:schemeClr val="bg1"/>
                </a:solidFill>
                <a:latin typeface="Calibri" panose="020F0502020204030204" pitchFamily="34" charset="0"/>
                <a:cs typeface="Calibri" panose="020F0502020204030204" pitchFamily="34" charset="0"/>
              </a:defRPr>
            </a:lvl1pPr>
            <a:lvl2pPr marL="377967" indent="0">
              <a:buNone/>
              <a:defRPr sz="3200">
                <a:solidFill>
                  <a:srgbClr val="011E3B"/>
                </a:solidFill>
                <a:latin typeface="Montserrat" pitchFamily="2" charset="77"/>
              </a:defRPr>
            </a:lvl2pPr>
            <a:lvl3pPr marL="755934" indent="0">
              <a:buNone/>
              <a:defRPr sz="3200">
                <a:solidFill>
                  <a:srgbClr val="011E3B"/>
                </a:solidFill>
                <a:latin typeface="Montserrat" pitchFamily="2" charset="77"/>
              </a:defRPr>
            </a:lvl3pPr>
            <a:lvl4pPr marL="1133901" indent="0">
              <a:buNone/>
              <a:defRPr sz="3200">
                <a:solidFill>
                  <a:srgbClr val="011E3B"/>
                </a:solidFill>
                <a:latin typeface="Montserrat" pitchFamily="2" charset="77"/>
              </a:defRPr>
            </a:lvl4pPr>
            <a:lvl5pPr marL="1511869" indent="0">
              <a:buNone/>
              <a:defRPr sz="3200">
                <a:solidFill>
                  <a:srgbClr val="011E3B"/>
                </a:solidFill>
                <a:latin typeface="Montserrat" pitchFamily="2" charset="77"/>
              </a:defRPr>
            </a:lvl5pPr>
          </a:lstStyle>
          <a:p>
            <a:pPr lvl="0"/>
            <a:r>
              <a:rPr lang="en-GB" dirty="0"/>
              <a:t>Title/Sub-Heading</a:t>
            </a:r>
            <a:endParaRPr lang="en-US" dirty="0"/>
          </a:p>
        </p:txBody>
      </p:sp>
      <p:sp>
        <p:nvSpPr>
          <p:cNvPr id="6" name="Slide Number Placeholder 5">
            <a:extLst>
              <a:ext uri="{FF2B5EF4-FFF2-40B4-BE49-F238E27FC236}">
                <a16:creationId xmlns:a16="http://schemas.microsoft.com/office/drawing/2014/main" id="{EA17C220-C8D3-9914-408F-A13464F9F982}"/>
              </a:ext>
            </a:extLst>
          </p:cNvPr>
          <p:cNvSpPr>
            <a:spLocks noGrp="1"/>
          </p:cNvSpPr>
          <p:nvPr>
            <p:ph type="sldNum" sz="quarter" idx="4"/>
          </p:nvPr>
        </p:nvSpPr>
        <p:spPr>
          <a:xfrm>
            <a:off x="6246356" y="10136702"/>
            <a:ext cx="988834" cy="465822"/>
          </a:xfrm>
          <a:prstGeom prst="rect">
            <a:avLst/>
          </a:prstGeom>
        </p:spPr>
        <p:txBody>
          <a:bodyPr vert="horz" lIns="91440" tIns="45720" rIns="91440" bIns="45720" rtlCol="0" anchor="ctr"/>
          <a:lstStyle>
            <a:lvl1pPr algn="r">
              <a:defRPr sz="8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fld id="{CB2079F2-58AF-ED44-82D7-E04B2F6FD686}" type="slidenum">
              <a:rPr lang="en-US" smtClean="0"/>
              <a:pPr/>
              <a:t>‹Nr.›</a:t>
            </a:fld>
            <a:endParaRPr lang="en-US" dirty="0"/>
          </a:p>
        </p:txBody>
      </p:sp>
      <p:sp>
        <p:nvSpPr>
          <p:cNvPr id="7" name="TextBox 6">
            <a:extLst>
              <a:ext uri="{FF2B5EF4-FFF2-40B4-BE49-F238E27FC236}">
                <a16:creationId xmlns:a16="http://schemas.microsoft.com/office/drawing/2014/main" id="{FB140284-5EC3-4546-DFD4-A84B87F41C36}"/>
              </a:ext>
            </a:extLst>
          </p:cNvPr>
          <p:cNvSpPr txBox="1"/>
          <p:nvPr userDrawn="1"/>
        </p:nvSpPr>
        <p:spPr>
          <a:xfrm>
            <a:off x="423582" y="10230081"/>
            <a:ext cx="3778622" cy="215444"/>
          </a:xfrm>
          <a:prstGeom prst="rect">
            <a:avLst/>
          </a:prstGeom>
          <a:noFill/>
        </p:spPr>
        <p:txBody>
          <a:bodyPr wrap="square">
            <a:spAutoFit/>
          </a:bodyPr>
          <a:lstStyle/>
          <a:p>
            <a:r>
              <a:rPr lang="en-US" sz="800" kern="1000" spc="250" baseline="0" dirty="0">
                <a:solidFill>
                  <a:srgbClr val="22BDBF"/>
                </a:solidFill>
                <a:latin typeface="Calibri" panose="020F0502020204030204" pitchFamily="34" charset="0"/>
                <a:cs typeface="Calibri" panose="020F0502020204030204" pitchFamily="34" charset="0"/>
              </a:rPr>
              <a:t>AI Skills, Powered by Values</a:t>
            </a:r>
          </a:p>
        </p:txBody>
      </p:sp>
    </p:spTree>
    <p:extLst>
      <p:ext uri="{BB962C8B-B14F-4D97-AF65-F5344CB8AC3E}">
        <p14:creationId xmlns:p14="http://schemas.microsoft.com/office/powerpoint/2010/main" val="498135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6" Type="http://schemas.openxmlformats.org/officeDocument/2006/relationships/image" Target="../media/image1.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oleObject" Target="../embeddings/oleObject2.bin"/><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313F03-7723-AD93-654E-EF629170A29E}"/>
              </a:ext>
            </a:extLst>
          </p:cNvPr>
          <p:cNvGraphicFramePr>
            <a:graphicFrameLocks noChangeAspect="1"/>
          </p:cNvGraphicFramePr>
          <p:nvPr userDrawn="1">
            <p:custDataLst>
              <p:tags r:id="rId6"/>
            </p:custDataLst>
            <p:extLst>
              <p:ext uri="{D42A27DB-BD31-4B8C-83A1-F6EECF244321}">
                <p14:modId xmlns:p14="http://schemas.microsoft.com/office/powerpoint/2010/main" val="2799999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8" imgH="540" progId="TCLayout.ActiveDocument.1">
                  <p:embed/>
                </p:oleObj>
              </mc:Choice>
              <mc:Fallback>
                <p:oleObj name="think-cell Folie" r:id="rId7" imgW="538" imgH="54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9728" y="569242"/>
            <a:ext cx="6520220" cy="2066590"/>
          </a:xfrm>
          <a:prstGeom prst="rect">
            <a:avLst/>
          </a:prstGeom>
        </p:spPr>
        <p:txBody>
          <a:bodyPr vert="horz" lIns="91440" tIns="45720" rIns="91440" bIns="45720" rtlCol="0" anchor="ctr">
            <a:normAutofit/>
          </a:bodyPr>
          <a:lstStyle/>
          <a:p>
            <a:r>
              <a:rPr lang="en-GB" dirty="0"/>
              <a:t>Klicken Sie hier, um den Stil des Haupttitels zu bearbeiten</a:t>
            </a:r>
            <a:endParaRPr lang="en-US" dirty="0"/>
          </a:p>
        </p:txBody>
      </p:sp>
      <p:sp>
        <p:nvSpPr>
          <p:cNvPr id="3" name="Text Placeholder 2"/>
          <p:cNvSpPr>
            <a:spLocks noGrp="1"/>
          </p:cNvSpPr>
          <p:nvPr>
            <p:ph type="body" idx="1"/>
          </p:nvPr>
        </p:nvSpPr>
        <p:spPr>
          <a:xfrm>
            <a:off x="519728" y="2846200"/>
            <a:ext cx="6520220" cy="6783857"/>
          </a:xfrm>
          <a:prstGeom prst="rect">
            <a:avLst/>
          </a:prstGeom>
        </p:spPr>
        <p:txBody>
          <a:bodyPr vert="horz" lIns="91440" tIns="45720" rIns="91440" bIns="45720" rtlCol="0">
            <a:normAutofit/>
          </a:bodyPr>
          <a:lstStyle/>
          <a:p>
            <a:pPr lvl="0"/>
            <a:r>
              <a:rPr lang="en-GB" dirty="0"/>
              <a:t>Klicken Sie hier, um den Stil des Haupttextes zu bearbeiten</a:t>
            </a:r>
          </a:p>
          <a:p>
            <a:pPr lvl="1"/>
            <a:r>
              <a:rPr lang="en-GB" dirty="0"/>
              <a:t>Zweite Ebene</a:t>
            </a:r>
          </a:p>
          <a:p>
            <a:pPr lvl="2"/>
            <a:r>
              <a:rPr lang="en-GB" dirty="0"/>
              <a:t>Dritte Ebene</a:t>
            </a:r>
          </a:p>
          <a:p>
            <a:pPr lvl="3"/>
            <a:r>
              <a:rPr lang="en-GB" dirty="0"/>
              <a:t>Vierte Ebene</a:t>
            </a:r>
          </a:p>
          <a:p>
            <a:pPr lvl="4"/>
            <a:r>
              <a:rPr lang="en-GB" dirty="0"/>
              <a:t>Fünfte Ebene</a:t>
            </a:r>
            <a:endParaRPr lang="en-US" dirty="0"/>
          </a:p>
        </p:txBody>
      </p:sp>
      <p:sp>
        <p:nvSpPr>
          <p:cNvPr id="10" name="Slide Number Placeholder 5">
            <a:extLst>
              <a:ext uri="{FF2B5EF4-FFF2-40B4-BE49-F238E27FC236}">
                <a16:creationId xmlns:a16="http://schemas.microsoft.com/office/drawing/2014/main" id="{27D4BD39-FC27-6B4F-AA5E-C3CF9179CB4A}"/>
              </a:ext>
            </a:extLst>
          </p:cNvPr>
          <p:cNvSpPr>
            <a:spLocks noGrp="1"/>
          </p:cNvSpPr>
          <p:nvPr>
            <p:ph type="sldNum" sz="quarter" idx="4"/>
          </p:nvPr>
        </p:nvSpPr>
        <p:spPr>
          <a:xfrm>
            <a:off x="6246356" y="10136702"/>
            <a:ext cx="988834" cy="465822"/>
          </a:xfrm>
          <a:prstGeom prst="rect">
            <a:avLst/>
          </a:prstGeom>
        </p:spPr>
        <p:txBody>
          <a:bodyPr vert="horz" lIns="91440" tIns="45720" rIns="91440" bIns="45720" rtlCol="0" anchor="ctr"/>
          <a:lstStyle>
            <a:lvl1pPr algn="r">
              <a:defRPr sz="8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stStyle>
          <a:p>
            <a:fld id="{CB2079F2-58AF-ED44-82D7-E04B2F6FD686}" type="slidenum">
              <a:rPr lang="en-US" smtClean="0"/>
              <a:t>‹Nr.›</a:t>
            </a:fld>
            <a:endParaRPr lang="en-US" dirty="0"/>
          </a:p>
        </p:txBody>
      </p:sp>
      <p:sp>
        <p:nvSpPr>
          <p:cNvPr id="7" name="TextBox 6">
            <a:extLst>
              <a:ext uri="{FF2B5EF4-FFF2-40B4-BE49-F238E27FC236}">
                <a16:creationId xmlns:a16="http://schemas.microsoft.com/office/drawing/2014/main" id="{A4E2BEAF-462A-D238-9E96-6B8E4CF314C0}"/>
              </a:ext>
            </a:extLst>
          </p:cNvPr>
          <p:cNvSpPr txBox="1"/>
          <p:nvPr userDrawn="1"/>
        </p:nvSpPr>
        <p:spPr>
          <a:xfrm>
            <a:off x="423582" y="10230081"/>
            <a:ext cx="3778622" cy="215444"/>
          </a:xfrm>
          <a:prstGeom prst="rect">
            <a:avLst/>
          </a:prstGeom>
          <a:noFill/>
        </p:spPr>
        <p:txBody>
          <a:bodyPr wrap="square">
            <a:spAutoFit/>
          </a:bodyPr>
          <a:lstStyle/>
          <a:p>
            <a:r>
              <a:rPr lang="en-US" sz="800" kern="1000" spc="250" baseline="0" dirty="0">
                <a:solidFill>
                  <a:srgbClr val="22BDBF"/>
                </a:solidFill>
              </a:rPr>
              <a:t>KI-Fähigkeiten, basierend auf Werten</a:t>
            </a:r>
          </a:p>
        </p:txBody>
      </p:sp>
    </p:spTree>
    <p:extLst>
      <p:ext uri="{BB962C8B-B14F-4D97-AF65-F5344CB8AC3E}">
        <p14:creationId xmlns:p14="http://schemas.microsoft.com/office/powerpoint/2010/main" val="891014926"/>
      </p:ext>
    </p:extLst>
  </p:cSld>
  <p:clrMap bg1="lt1" tx1="dk1" bg2="lt2" tx2="dk2" accent1="accent1" accent2="accent2" accent3="accent3" accent4="accent4" accent5="accent5" accent6="accent6" hlink="hlink" folHlink="folHlink"/>
  <p:sldLayoutIdLst>
    <p:sldLayoutId id="2147483931" r:id="rId1"/>
    <p:sldLayoutId id="2147483945" r:id="rId2"/>
    <p:sldLayoutId id="2147483946" r:id="rId3"/>
    <p:sldLayoutId id="2147483952" r:id="rId4"/>
  </p:sldLayoutIdLst>
  <p:hf hdr="0" ftr="0" dt="0"/>
  <p:txStyles>
    <p:titleStyle>
      <a:lvl1pPr algn="l" defTabSz="755934" rtl="0" eaLnBrk="1" latinLnBrk="0" hangingPunct="1">
        <a:lnSpc>
          <a:spcPct val="90000"/>
        </a:lnSpc>
        <a:spcBef>
          <a:spcPct val="0"/>
        </a:spcBef>
        <a:buNone/>
        <a:defRPr sz="3637" b="0" i="0" kern="1200">
          <a:solidFill>
            <a:srgbClr val="5C5C5C"/>
          </a:solidFill>
          <a:latin typeface="Calibri" panose="020F0502020204030204" pitchFamily="34" charset="0"/>
          <a:ea typeface="+mj-ea"/>
          <a:cs typeface="Calibri" panose="020F0502020204030204" pitchFamily="34" charset="0"/>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rgbClr val="5C5C5C"/>
          </a:solidFill>
          <a:latin typeface="Calibri" panose="020F0502020204030204" pitchFamily="34" charset="0"/>
          <a:ea typeface="+mn-ea"/>
          <a:cs typeface="Calibri" panose="020F0502020204030204" pitchFamily="34" charset="0"/>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rgbClr val="5C5C5C"/>
          </a:solidFill>
          <a:latin typeface="Calibri" panose="020F0502020204030204" pitchFamily="34" charset="0"/>
          <a:ea typeface="+mn-ea"/>
          <a:cs typeface="Calibri" panose="020F0502020204030204" pitchFamily="34" charset="0"/>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rgbClr val="5C5C5C"/>
          </a:solidFill>
          <a:latin typeface="Calibri" panose="020F0502020204030204" pitchFamily="34" charset="0"/>
          <a:ea typeface="+mn-ea"/>
          <a:cs typeface="Calibri" panose="020F0502020204030204" pitchFamily="34" charset="0"/>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rgbClr val="5C5C5C"/>
          </a:solidFill>
          <a:latin typeface="Calibri" panose="020F0502020204030204" pitchFamily="34" charset="0"/>
          <a:ea typeface="+mn-ea"/>
          <a:cs typeface="Calibri" panose="020F0502020204030204" pitchFamily="34" charset="0"/>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rgbClr val="5C5C5C"/>
          </a:solidFill>
          <a:latin typeface="Calibri" panose="020F0502020204030204" pitchFamily="34" charset="0"/>
          <a:ea typeface="+mn-ea"/>
          <a:cs typeface="Calibri" panose="020F0502020204030204" pitchFamily="34" charset="0"/>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EF55C4-2288-B910-1410-9B414EBB142E}"/>
              </a:ext>
            </a:extLst>
          </p:cNvPr>
          <p:cNvGraphicFramePr>
            <a:graphicFrameLocks noChangeAspect="1"/>
          </p:cNvGraphicFramePr>
          <p:nvPr userDrawn="1">
            <p:custDataLst>
              <p:tags r:id="rId14"/>
            </p:custDataLst>
            <p:extLst>
              <p:ext uri="{D42A27DB-BD31-4B8C-83A1-F6EECF244321}">
                <p14:modId xmlns:p14="http://schemas.microsoft.com/office/powerpoint/2010/main" val="3979799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38" imgH="540" progId="TCLayout.ActiveDocument.1">
                  <p:embed/>
                </p:oleObj>
              </mc:Choice>
              <mc:Fallback>
                <p:oleObj name="think-cell Folie" r:id="rId15" imgW="538" imgH="54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9F07C08C-5DAB-C235-9098-B93F1FDA1C1A}"/>
              </a:ext>
            </a:extLst>
          </p:cNvPr>
          <p:cNvSpPr>
            <a:spLocks noGrp="1"/>
          </p:cNvSpPr>
          <p:nvPr>
            <p:ph type="sldNum" sz="quarter" idx="4"/>
          </p:nvPr>
        </p:nvSpPr>
        <p:spPr>
          <a:xfrm>
            <a:off x="6246356" y="10136702"/>
            <a:ext cx="988834" cy="465822"/>
          </a:xfrm>
          <a:prstGeom prst="rect">
            <a:avLst/>
          </a:prstGeom>
        </p:spPr>
        <p:txBody>
          <a:bodyPr vert="horz" lIns="91440" tIns="45720" rIns="91440" bIns="45720" rtlCol="0" anchor="ctr"/>
          <a:lstStyle>
            <a:lvl1pPr algn="r">
              <a:defRPr sz="800" b="0" i="0">
                <a:solidFill>
                  <a:srgbClr val="10153D"/>
                </a:solidFill>
                <a:latin typeface="Calibri" panose="020F0502020204030204" pitchFamily="34" charset="0"/>
                <a:ea typeface="Open Sans" panose="020B0606030504020204" pitchFamily="34" charset="0"/>
                <a:cs typeface="Calibri" panose="020F0502020204030204" pitchFamily="34" charset="0"/>
              </a:defRPr>
            </a:lvl1pPr>
          </a:lstStyle>
          <a:p>
            <a:fld id="{CB2079F2-58AF-ED44-82D7-E04B2F6FD686}" type="slidenum">
              <a:rPr lang="en-US" smtClean="0"/>
              <a:t>‹Nr.›</a:t>
            </a:fld>
            <a:endParaRPr lang="en-US" dirty="0"/>
          </a:p>
        </p:txBody>
      </p:sp>
      <p:sp>
        <p:nvSpPr>
          <p:cNvPr id="5" name="TextBox 4">
            <a:extLst>
              <a:ext uri="{FF2B5EF4-FFF2-40B4-BE49-F238E27FC236}">
                <a16:creationId xmlns:a16="http://schemas.microsoft.com/office/drawing/2014/main" id="{E6B3F831-6C66-161C-EA2D-5C3BE9C2933A}"/>
              </a:ext>
            </a:extLst>
          </p:cNvPr>
          <p:cNvSpPr txBox="1"/>
          <p:nvPr userDrawn="1"/>
        </p:nvSpPr>
        <p:spPr>
          <a:xfrm>
            <a:off x="423582" y="10230081"/>
            <a:ext cx="3778622" cy="215444"/>
          </a:xfrm>
          <a:prstGeom prst="rect">
            <a:avLst/>
          </a:prstGeom>
          <a:noFill/>
        </p:spPr>
        <p:txBody>
          <a:bodyPr wrap="square">
            <a:spAutoFit/>
          </a:bodyPr>
          <a:lstStyle/>
          <a:p>
            <a:r>
              <a:rPr lang="en-US" sz="800" kern="1000" spc="250" baseline="0" dirty="0">
                <a:solidFill>
                  <a:srgbClr val="22BDBF"/>
                </a:solidFill>
              </a:rPr>
              <a:t>KI-Fähigkeiten, gestützt auf Werte</a:t>
            </a:r>
          </a:p>
        </p:txBody>
      </p:sp>
    </p:spTree>
    <p:extLst>
      <p:ext uri="{BB962C8B-B14F-4D97-AF65-F5344CB8AC3E}">
        <p14:creationId xmlns:p14="http://schemas.microsoft.com/office/powerpoint/2010/main" val="412885688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50" r:id="rId9"/>
    <p:sldLayoutId id="2147483942" r:id="rId10"/>
    <p:sldLayoutId id="2147483943" r:id="rId11"/>
    <p:sldLayoutId id="2147483944" r:id="rId12"/>
  </p:sldLayoutIdLst>
  <p:hf hdr="0"/>
  <p:txStyles>
    <p:titleStyle>
      <a:lvl1pPr algn="l" defTabSz="2072941" rtl="0" eaLnBrk="1" latinLnBrk="0" hangingPunct="1">
        <a:lnSpc>
          <a:spcPct val="90000"/>
        </a:lnSpc>
        <a:spcBef>
          <a:spcPct val="0"/>
        </a:spcBef>
        <a:buNone/>
        <a:defRPr sz="9975" kern="1200">
          <a:solidFill>
            <a:srgbClr val="011E3B"/>
          </a:solidFill>
          <a:latin typeface="Poppins" pitchFamily="2" charset="77"/>
          <a:ea typeface="+mj-ea"/>
          <a:cs typeface="Poppins" pitchFamily="2" charset="77"/>
        </a:defRPr>
      </a:lvl1pPr>
    </p:titleStyle>
    <p:bodyStyle>
      <a:lvl1pPr marL="518236" indent="-518236" algn="l" defTabSz="2072941" rtl="0" eaLnBrk="1" latinLnBrk="0" hangingPunct="1">
        <a:lnSpc>
          <a:spcPct val="100000"/>
        </a:lnSpc>
        <a:spcBef>
          <a:spcPts val="2267"/>
        </a:spcBef>
        <a:buFont typeface="Arial" panose="020B0604020202020204" pitchFamily="34" charset="0"/>
        <a:buChar char="•"/>
        <a:defRPr sz="6349" kern="1200">
          <a:solidFill>
            <a:srgbClr val="011E3B"/>
          </a:solidFill>
          <a:latin typeface="Poppins" pitchFamily="2" charset="77"/>
          <a:ea typeface="+mn-ea"/>
          <a:cs typeface="Poppins" pitchFamily="2" charset="77"/>
        </a:defRPr>
      </a:lvl1pPr>
      <a:lvl2pPr marL="1554707" indent="-518236" algn="l" defTabSz="2072941" rtl="0" eaLnBrk="1" latinLnBrk="0" hangingPunct="1">
        <a:lnSpc>
          <a:spcPct val="100000"/>
        </a:lnSpc>
        <a:spcBef>
          <a:spcPts val="1133"/>
        </a:spcBef>
        <a:buFont typeface="Arial" panose="020B0604020202020204" pitchFamily="34" charset="0"/>
        <a:buChar char="•"/>
        <a:defRPr sz="5442" kern="1200">
          <a:solidFill>
            <a:srgbClr val="011E3B"/>
          </a:solidFill>
          <a:latin typeface="Poppins" pitchFamily="2" charset="77"/>
          <a:ea typeface="+mn-ea"/>
          <a:cs typeface="Poppins" pitchFamily="2" charset="77"/>
        </a:defRPr>
      </a:lvl2pPr>
      <a:lvl3pPr marL="2591176" indent="-518236" algn="l" defTabSz="2072941" rtl="0" eaLnBrk="1" latinLnBrk="0" hangingPunct="1">
        <a:lnSpc>
          <a:spcPct val="100000"/>
        </a:lnSpc>
        <a:spcBef>
          <a:spcPts val="1133"/>
        </a:spcBef>
        <a:buFont typeface="Arial" panose="020B0604020202020204" pitchFamily="34" charset="0"/>
        <a:buChar char="•"/>
        <a:defRPr sz="4533" kern="1200">
          <a:solidFill>
            <a:srgbClr val="011E3B"/>
          </a:solidFill>
          <a:latin typeface="Poppins" pitchFamily="2" charset="77"/>
          <a:ea typeface="+mn-ea"/>
          <a:cs typeface="Poppins" pitchFamily="2" charset="77"/>
        </a:defRPr>
      </a:lvl3pPr>
      <a:lvl4pPr marL="3627646"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4pPr>
      <a:lvl5pPr marL="4664118" indent="-518236" algn="l" defTabSz="2072941" rtl="0" eaLnBrk="1" latinLnBrk="0" hangingPunct="1">
        <a:lnSpc>
          <a:spcPct val="100000"/>
        </a:lnSpc>
        <a:spcBef>
          <a:spcPts val="1133"/>
        </a:spcBef>
        <a:buFont typeface="Arial" panose="020B0604020202020204" pitchFamily="34" charset="0"/>
        <a:buChar char="•"/>
        <a:defRPr sz="4080" kern="1200">
          <a:solidFill>
            <a:srgbClr val="011E3B"/>
          </a:solidFill>
          <a:latin typeface="Poppins" pitchFamily="2" charset="77"/>
          <a:ea typeface="+mn-ea"/>
          <a:cs typeface="Poppins" pitchFamily="2" charset="77"/>
        </a:defRPr>
      </a:lvl5pPr>
      <a:lvl6pPr marL="570058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6pPr>
      <a:lvl7pPr marL="6737059"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7pPr>
      <a:lvl8pPr marL="7773528"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8pPr>
      <a:lvl9pPr marL="8810001" indent="-518236" algn="l" defTabSz="2072941" rtl="0" eaLnBrk="1" latinLnBrk="0" hangingPunct="1">
        <a:lnSpc>
          <a:spcPct val="90000"/>
        </a:lnSpc>
        <a:spcBef>
          <a:spcPts val="1133"/>
        </a:spcBef>
        <a:buFont typeface="Arial" panose="020B0604020202020204" pitchFamily="34" charset="0"/>
        <a:buChar char="•"/>
        <a:defRPr sz="4080" kern="1200">
          <a:solidFill>
            <a:schemeClr val="tx1"/>
          </a:solidFill>
          <a:latin typeface="+mn-lt"/>
          <a:ea typeface="+mn-ea"/>
          <a:cs typeface="+mn-cs"/>
        </a:defRPr>
      </a:lvl9pPr>
    </p:bodyStyle>
    <p:otherStyle>
      <a:defPPr>
        <a:defRPr lang="en-US"/>
      </a:defPPr>
      <a:lvl1pPr marL="0" algn="l" defTabSz="2072941" rtl="0" eaLnBrk="1" latinLnBrk="0" hangingPunct="1">
        <a:defRPr sz="4080" kern="1200">
          <a:solidFill>
            <a:schemeClr val="tx1"/>
          </a:solidFill>
          <a:latin typeface="+mn-lt"/>
          <a:ea typeface="+mn-ea"/>
          <a:cs typeface="+mn-cs"/>
        </a:defRPr>
      </a:lvl1pPr>
      <a:lvl2pPr marL="1036469" algn="l" defTabSz="2072941" rtl="0" eaLnBrk="1" latinLnBrk="0" hangingPunct="1">
        <a:defRPr sz="4080" kern="1200">
          <a:solidFill>
            <a:schemeClr val="tx1"/>
          </a:solidFill>
          <a:latin typeface="+mn-lt"/>
          <a:ea typeface="+mn-ea"/>
          <a:cs typeface="+mn-cs"/>
        </a:defRPr>
      </a:lvl2pPr>
      <a:lvl3pPr marL="2072941" algn="l" defTabSz="2072941" rtl="0" eaLnBrk="1" latinLnBrk="0" hangingPunct="1">
        <a:defRPr sz="4080" kern="1200">
          <a:solidFill>
            <a:schemeClr val="tx1"/>
          </a:solidFill>
          <a:latin typeface="+mn-lt"/>
          <a:ea typeface="+mn-ea"/>
          <a:cs typeface="+mn-cs"/>
        </a:defRPr>
      </a:lvl3pPr>
      <a:lvl4pPr marL="3109412" algn="l" defTabSz="2072941" rtl="0" eaLnBrk="1" latinLnBrk="0" hangingPunct="1">
        <a:defRPr sz="4080" kern="1200">
          <a:solidFill>
            <a:schemeClr val="tx1"/>
          </a:solidFill>
          <a:latin typeface="+mn-lt"/>
          <a:ea typeface="+mn-ea"/>
          <a:cs typeface="+mn-cs"/>
        </a:defRPr>
      </a:lvl4pPr>
      <a:lvl5pPr marL="4145883" algn="l" defTabSz="2072941" rtl="0" eaLnBrk="1" latinLnBrk="0" hangingPunct="1">
        <a:defRPr sz="4080" kern="1200">
          <a:solidFill>
            <a:schemeClr val="tx1"/>
          </a:solidFill>
          <a:latin typeface="+mn-lt"/>
          <a:ea typeface="+mn-ea"/>
          <a:cs typeface="+mn-cs"/>
        </a:defRPr>
      </a:lvl5pPr>
      <a:lvl6pPr marL="5182352" algn="l" defTabSz="2072941" rtl="0" eaLnBrk="1" latinLnBrk="0" hangingPunct="1">
        <a:defRPr sz="4080" kern="1200">
          <a:solidFill>
            <a:schemeClr val="tx1"/>
          </a:solidFill>
          <a:latin typeface="+mn-lt"/>
          <a:ea typeface="+mn-ea"/>
          <a:cs typeface="+mn-cs"/>
        </a:defRPr>
      </a:lvl6pPr>
      <a:lvl7pPr marL="6218822" algn="l" defTabSz="2072941" rtl="0" eaLnBrk="1" latinLnBrk="0" hangingPunct="1">
        <a:defRPr sz="4080" kern="1200">
          <a:solidFill>
            <a:schemeClr val="tx1"/>
          </a:solidFill>
          <a:latin typeface="+mn-lt"/>
          <a:ea typeface="+mn-ea"/>
          <a:cs typeface="+mn-cs"/>
        </a:defRPr>
      </a:lvl7pPr>
      <a:lvl8pPr marL="7255294" algn="l" defTabSz="2072941" rtl="0" eaLnBrk="1" latinLnBrk="0" hangingPunct="1">
        <a:defRPr sz="4080" kern="1200">
          <a:solidFill>
            <a:schemeClr val="tx1"/>
          </a:solidFill>
          <a:latin typeface="+mn-lt"/>
          <a:ea typeface="+mn-ea"/>
          <a:cs typeface="+mn-cs"/>
        </a:defRPr>
      </a:lvl8pPr>
      <a:lvl9pPr marL="8291764" algn="l" defTabSz="2072941" rtl="0" eaLnBrk="1" latinLnBrk="0" hangingPunct="1">
        <a:defRPr sz="40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unesco.org/en/artificial-intelligence/recommendation-ethics/cases" TargetMode="Externa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niu.edu/citl/resources/guides/instructional-guide/role-playing.shtml#:~:text=Benefits%20of%20Role%20Playing&amp;text=Enhance%20current%20teaching%20strategies,for%20critical%20observation%20of%20peers" TargetMode="Externa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hbr.org/2020/10/a-practical-guide-to-building-ethical-ai" TargetMode="External"/><Relationship Id="rId1" Type="http://schemas.openxmlformats.org/officeDocument/2006/relationships/slideLayout" Target="../slideLayouts/slideLayout4.xml"/><Relationship Id="rId5" Type="http://schemas.openxmlformats.org/officeDocument/2006/relationships/image" Target="../media/image9.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interactive-ai-ethics-quiz.herokuapp.com/" TargetMode="Externa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A0DAC-E602-0A8C-DBDD-48B3283D728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C5E2A2D-3C0C-B034-4B42-9882F5DE4095}"/>
              </a:ext>
            </a:extLst>
          </p:cNvPr>
          <p:cNvSpPr/>
          <p:nvPr/>
        </p:nvSpPr>
        <p:spPr>
          <a:xfrm>
            <a:off x="0" y="4960212"/>
            <a:ext cx="7559675" cy="5098188"/>
          </a:xfrm>
          <a:prstGeom prst="rect">
            <a:avLst/>
          </a:prstGeom>
          <a:solidFill>
            <a:srgbClr val="702892"/>
          </a:solidFill>
          <a:ln>
            <a:solidFill>
              <a:srgbClr val="E6327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636E74E6-BEBF-2883-3D3B-E8C3B2E72394}"/>
              </a:ext>
            </a:extLst>
          </p:cNvPr>
          <p:cNvSpPr>
            <a:spLocks noGrp="1"/>
          </p:cNvSpPr>
          <p:nvPr>
            <p:ph type="body" sz="quarter" idx="32"/>
          </p:nvPr>
        </p:nvSpPr>
        <p:spPr>
          <a:xfrm>
            <a:off x="437243" y="2480192"/>
            <a:ext cx="6526988" cy="1500415"/>
          </a:xfrm>
        </p:spPr>
        <p:txBody>
          <a:bodyPr numCol="1"/>
          <a:lstStyle/>
          <a:p>
            <a:r>
              <a:rPr lang="en-US" dirty="0"/>
              <a:t>Interaktive Aktivitäten sind wichtige Instrumente, um junge Menschen in Diskussionen über ethische KI einzubeziehen. Durch die Kombination von Theorie und praktischen Erfahrungen ermöglichen diese Aktivitäten Jugendlichen, die ethischen Dimensionen der KI auf dynamischere und ansprechendere Weise zu erkunden. Praktische Übungen und Rollenspielszenarien können jungen Menschen dabei helfen, reale ethische Dilemmata kritisch zu hinterfragen, unterschiedliche Perspektiven zu verstehen und ihre Fähigkeit zu entwickeln, sich an durchdachten, fundierten Debatten über die Auswirkungen von KI-Technologien zu beteiligen.</a:t>
            </a:r>
          </a:p>
          <a:p>
            <a:endParaRPr lang="en-US" dirty="0"/>
          </a:p>
          <a:p>
            <a:r>
              <a:rPr lang="en-US" dirty="0"/>
              <a:t>In diesem Unterkapitel stellen wir mehrere interaktive Aktivitäten vor, die zum Nachdenken anregen, Diskussionen provozieren und jungen Menschen helfen sollen, sich aktiv mit ethischen Fragen der KI auseinanderzusetzen.</a:t>
            </a:r>
          </a:p>
        </p:txBody>
      </p:sp>
      <p:sp>
        <p:nvSpPr>
          <p:cNvPr id="12" name="Text Placeholder 11">
            <a:extLst>
              <a:ext uri="{FF2B5EF4-FFF2-40B4-BE49-F238E27FC236}">
                <a16:creationId xmlns:a16="http://schemas.microsoft.com/office/drawing/2014/main" id="{8A1FA2CD-5523-1411-3154-08C2A607D1FB}"/>
              </a:ext>
            </a:extLst>
          </p:cNvPr>
          <p:cNvSpPr>
            <a:spLocks noGrp="1"/>
          </p:cNvSpPr>
          <p:nvPr>
            <p:ph type="body" sz="quarter" idx="30"/>
          </p:nvPr>
        </p:nvSpPr>
        <p:spPr>
          <a:xfrm>
            <a:off x="437243" y="937632"/>
            <a:ext cx="6570888" cy="785535"/>
          </a:xfrm>
        </p:spPr>
        <p:txBody>
          <a:bodyPr/>
          <a:lstStyle/>
          <a:p>
            <a:r>
              <a:rPr lang="en-US" dirty="0" err="1"/>
              <a:t>Jugendliche</a:t>
            </a:r>
            <a:r>
              <a:rPr lang="en-US" dirty="0"/>
              <a:t> </a:t>
            </a:r>
            <a:r>
              <a:rPr lang="en-US" dirty="0" err="1"/>
              <a:t>durch</a:t>
            </a:r>
            <a:r>
              <a:rPr lang="en-US" dirty="0"/>
              <a:t> </a:t>
            </a:r>
            <a:r>
              <a:rPr lang="en-US" dirty="0" err="1"/>
              <a:t>Diskussionen</a:t>
            </a:r>
            <a:r>
              <a:rPr lang="en-US" dirty="0"/>
              <a:t> </a:t>
            </a:r>
            <a:br>
              <a:rPr lang="en-US" dirty="0"/>
            </a:br>
            <a:r>
              <a:rPr lang="en-US" dirty="0" err="1"/>
              <a:t>über</a:t>
            </a:r>
            <a:r>
              <a:rPr lang="en-US" dirty="0"/>
              <a:t> </a:t>
            </a:r>
            <a:r>
              <a:rPr lang="en-US" dirty="0" err="1"/>
              <a:t>ethische</a:t>
            </a:r>
            <a:r>
              <a:rPr lang="en-US" dirty="0"/>
              <a:t> KI </a:t>
            </a:r>
            <a:r>
              <a:rPr lang="en-US" dirty="0" err="1"/>
              <a:t>begleiten</a:t>
            </a:r>
            <a:endParaRPr lang="en-US" dirty="0"/>
          </a:p>
        </p:txBody>
      </p:sp>
      <p:sp>
        <p:nvSpPr>
          <p:cNvPr id="14" name="Text Placeholder 13">
            <a:extLst>
              <a:ext uri="{FF2B5EF4-FFF2-40B4-BE49-F238E27FC236}">
                <a16:creationId xmlns:a16="http://schemas.microsoft.com/office/drawing/2014/main" id="{AC4CF173-73BB-6112-102C-2D753E136B53}"/>
              </a:ext>
            </a:extLst>
          </p:cNvPr>
          <p:cNvSpPr>
            <a:spLocks noGrp="1"/>
          </p:cNvSpPr>
          <p:nvPr>
            <p:ph type="body" sz="quarter" idx="34"/>
          </p:nvPr>
        </p:nvSpPr>
        <p:spPr>
          <a:xfrm>
            <a:off x="502812" y="1748142"/>
            <a:ext cx="6526638" cy="785535"/>
          </a:xfrm>
        </p:spPr>
        <p:txBody>
          <a:bodyPr/>
          <a:lstStyle/>
          <a:p>
            <a:r>
              <a:rPr lang="en-US" b="1" dirty="0">
                <a:solidFill>
                  <a:srgbClr val="3C3795"/>
                </a:solidFill>
              </a:rPr>
              <a:t>Interaktive Aktivitäten zur Förderung des Engagements</a:t>
            </a:r>
          </a:p>
        </p:txBody>
      </p:sp>
      <p:sp>
        <p:nvSpPr>
          <p:cNvPr id="7" name="Slide Number Placeholder 9">
            <a:extLst>
              <a:ext uri="{FF2B5EF4-FFF2-40B4-BE49-F238E27FC236}">
                <a16:creationId xmlns:a16="http://schemas.microsoft.com/office/drawing/2014/main" id="{0D7D95CE-DA8E-B54C-35D9-FBF79F972BEE}"/>
              </a:ext>
            </a:extLst>
          </p:cNvPr>
          <p:cNvSpPr txBox="1">
            <a:spLocks/>
          </p:cNvSpPr>
          <p:nvPr/>
        </p:nvSpPr>
        <p:spPr>
          <a:xfrm>
            <a:off x="6895802" y="10132358"/>
            <a:ext cx="424721" cy="465137"/>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lumMod val="65000"/>
                    <a:lumOff val="35000"/>
                  </a:schemeClr>
                </a:solidFill>
                <a:latin typeface="Calibri" panose="020F0502020204030204" pitchFamily="34" charset="0"/>
                <a:ea typeface="Open Sans" panose="020B060603050402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B2079F2-58AF-ED44-82D7-E04B2F6FD686}" type="slidenum">
              <a:rPr lang="en-US" smtClean="0"/>
              <a:t>1</a:t>
            </a:fld>
            <a:endParaRPr lang="en-US" dirty="0"/>
          </a:p>
        </p:txBody>
      </p:sp>
      <p:sp>
        <p:nvSpPr>
          <p:cNvPr id="3" name="Text Placeholder 12">
            <a:extLst>
              <a:ext uri="{FF2B5EF4-FFF2-40B4-BE49-F238E27FC236}">
                <a16:creationId xmlns:a16="http://schemas.microsoft.com/office/drawing/2014/main" id="{702E6A4B-B240-E509-1419-62C17CA57CD3}"/>
              </a:ext>
            </a:extLst>
          </p:cNvPr>
          <p:cNvSpPr txBox="1">
            <a:spLocks/>
          </p:cNvSpPr>
          <p:nvPr/>
        </p:nvSpPr>
        <p:spPr>
          <a:xfrm>
            <a:off x="437243" y="5466320"/>
            <a:ext cx="6526988" cy="4206656"/>
          </a:xfrm>
          <a:prstGeom prst="rect">
            <a:avLst/>
          </a:prstGeom>
        </p:spPr>
        <p:txBody>
          <a:bodyPr vert="horz" lIns="91440" tIns="45720" rIns="91440" bIns="45720" numCol="1" spcCol="288000" rtlCol="0" anchor="t">
            <a:noAutofit/>
          </a:bodyPr>
          <a:lstStyle>
            <a:lvl1pPr marL="0" indent="0" algn="just" defTabSz="755934" rtl="0" eaLnBrk="1" latinLnBrk="0" hangingPunct="1">
              <a:lnSpc>
                <a:spcPct val="100000"/>
              </a:lnSpc>
              <a:spcBef>
                <a:spcPts val="0"/>
              </a:spcBef>
              <a:buFont typeface="Arial" panose="020B0604020202020204" pitchFamily="34" charset="0"/>
              <a:buNone/>
              <a:defRPr sz="1100" b="0" i="0" kern="1200">
                <a:solidFill>
                  <a:srgbClr val="10153D"/>
                </a:solidFill>
                <a:latin typeface="Calibri" panose="020F0502020204030204" pitchFamily="34" charset="0"/>
                <a:ea typeface="+mn-ea"/>
                <a:cs typeface="Calibri" panose="020F050202020403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28600" indent="-228600">
              <a:buFont typeface="Arial" panose="020B0604020202020204" pitchFamily="34" charset="0"/>
              <a:buAutoNum type="arabicPeriod"/>
            </a:pPr>
            <a:r>
              <a:rPr lang="en-US" sz="1400" b="1" dirty="0">
                <a:solidFill>
                  <a:schemeClr val="bg1"/>
                </a:solidFill>
              </a:rPr>
              <a:t>Debatte über KI-Ethik: Die Rolle der KI in der Gesellschaft</a:t>
            </a:r>
          </a:p>
          <a:p>
            <a:pPr marL="228600" indent="-228600">
              <a:buFont typeface="Arial" panose="020B0604020202020204" pitchFamily="34" charset="0"/>
              <a:buAutoNum type="arabicPeriod"/>
            </a:pPr>
            <a:endParaRPr lang="en-US" b="1" dirty="0">
              <a:solidFill>
                <a:schemeClr val="bg1"/>
              </a:solidFill>
            </a:endParaRPr>
          </a:p>
          <a:p>
            <a:r>
              <a:rPr lang="en-US" dirty="0">
                <a:solidFill>
                  <a:schemeClr val="bg1"/>
                </a:solidFill>
              </a:rPr>
              <a:t>Eine der effektivsten Methoden, um junge Menschen zu motivieren, sind strukturierte Debatten. Diese Aktivität ermöglicht es ihnen, gegensätzliche Standpunkte zu berücksichtigen und ihre Positionen zu verteidigen, was ihnen hilft, kritisch über ethische Fragen im Zusammenhang mit KI nachzudenken.</a:t>
            </a:r>
          </a:p>
          <a:p>
            <a:endParaRPr lang="en-US" b="1" dirty="0">
              <a:solidFill>
                <a:schemeClr val="bg1"/>
              </a:solidFill>
            </a:endParaRPr>
          </a:p>
          <a:p>
            <a:r>
              <a:rPr lang="en-US" sz="1200" b="1" dirty="0">
                <a:solidFill>
                  <a:schemeClr val="bg1"/>
                </a:solidFill>
              </a:rPr>
              <a:t>Ziel: </a:t>
            </a:r>
            <a:r>
              <a:rPr lang="en-US" dirty="0">
                <a:solidFill>
                  <a:schemeClr val="bg1"/>
                </a:solidFill>
              </a:rPr>
              <a:t>Verschiedene ethische Dilemmata im Zusammenhang mit KI untersuchen und die Teilnehmer dazu anregen, sowohl die Vorteile als auch die Herausforderungen von KI-Technologien zu berücksichtigen.</a:t>
            </a:r>
          </a:p>
          <a:p>
            <a:endParaRPr lang="en-US" b="1" dirty="0">
              <a:solidFill>
                <a:schemeClr val="bg1"/>
              </a:solidFill>
            </a:endParaRPr>
          </a:p>
          <a:p>
            <a:r>
              <a:rPr lang="en-US" sz="1200" b="1" dirty="0">
                <a:solidFill>
                  <a:schemeClr val="bg1"/>
                </a:solidFill>
              </a:rPr>
              <a:t>Anleitung</a:t>
            </a:r>
            <a:endParaRPr lang="en-US" sz="1200" dirty="0">
              <a:solidFill>
                <a:schemeClr val="bg1"/>
              </a:solidFill>
            </a:endParaRPr>
          </a:p>
          <a:p>
            <a:pPr marL="171450" indent="-171450">
              <a:buFont typeface="Arial" panose="020B0604020202020204" pitchFamily="34" charset="0"/>
              <a:buChar char="•"/>
            </a:pPr>
            <a:r>
              <a:rPr lang="en-US" b="1" dirty="0">
                <a:solidFill>
                  <a:schemeClr val="bg1"/>
                </a:solidFill>
              </a:rPr>
              <a:t>Teilen Sie die Gruppe in zwei Teams auf: </a:t>
            </a:r>
            <a:r>
              <a:rPr lang="en-US" dirty="0">
                <a:solidFill>
                  <a:schemeClr val="bg1"/>
                </a:solidFill>
              </a:rPr>
              <a:t>Ein Team argumentiert für KI-Technologien, während das andere Team gegen sie argumentiert und sich dabei auf ethische Bedenken wie Datenschutz, Voreingenommenheit und den potenziellen Verlust von Arbeitsplätzen konzentriert.</a:t>
            </a:r>
          </a:p>
          <a:p>
            <a:pPr marL="171450" indent="-171450">
              <a:buFont typeface="Arial" panose="020B0604020202020204" pitchFamily="34" charset="0"/>
              <a:buChar char="•"/>
            </a:pPr>
            <a:r>
              <a:rPr lang="en-US" b="1" dirty="0">
                <a:solidFill>
                  <a:schemeClr val="bg1"/>
                </a:solidFill>
              </a:rPr>
              <a:t>Recherchieren Sie das Thema: </a:t>
            </a:r>
            <a:r>
              <a:rPr lang="en-US" dirty="0">
                <a:solidFill>
                  <a:schemeClr val="bg1"/>
                </a:solidFill>
              </a:rPr>
              <a:t>Stellen Sie jedem Team relevante Materialien und Ressourcen zu den ethischen Dilemmata der KI zur Verfügung, z. B. zu Verletzungen der Privatsphäre, algorithmischer Voreingenommenheit und den Auswirkungen auf die Beschäftigung.</a:t>
            </a:r>
          </a:p>
          <a:p>
            <a:pPr marL="171450" indent="-171450">
              <a:buFont typeface="Arial" panose="020B0604020202020204" pitchFamily="34" charset="0"/>
              <a:buChar char="•"/>
            </a:pPr>
            <a:r>
              <a:rPr lang="en-US" b="1" dirty="0">
                <a:solidFill>
                  <a:schemeClr val="bg1"/>
                </a:solidFill>
              </a:rPr>
              <a:t>Legen Sie die Debattenregeln fest: </a:t>
            </a:r>
            <a:r>
              <a:rPr lang="en-US" dirty="0">
                <a:solidFill>
                  <a:schemeClr val="bg1"/>
                </a:solidFill>
              </a:rPr>
              <a:t>Jedes Team hat eine bestimmte Zeit, um seine Argumente vorzutragen, gefolgt von einer Gegenrede und einer abschließenden Zusammenfassung.</a:t>
            </a:r>
          </a:p>
          <a:p>
            <a:pPr marL="171450" indent="-171450">
              <a:buFont typeface="Arial" panose="020B0604020202020204" pitchFamily="34" charset="0"/>
              <a:buChar char="•"/>
            </a:pPr>
            <a:r>
              <a:rPr lang="en-US" b="1" dirty="0">
                <a:solidFill>
                  <a:schemeClr val="bg1"/>
                </a:solidFill>
              </a:rPr>
              <a:t>Leitfragen: </a:t>
            </a:r>
            <a:r>
              <a:rPr lang="en-US" dirty="0">
                <a:solidFill>
                  <a:schemeClr val="bg1"/>
                </a:solidFill>
              </a:rPr>
              <a:t>Verwenden Sie Fragen wie „Kann KI ethisch in öffentliche Systeme integriert werden?“ oder „Welche potenziellen Risiken birgt KI bei der Entscheidungsfindung?“, um die Debatte zu leiten.</a:t>
            </a:r>
          </a:p>
          <a:p>
            <a:pPr marL="171450" indent="-171450">
              <a:buFont typeface="Arial" panose="020B0604020202020204" pitchFamily="34" charset="0"/>
              <a:buChar char="•"/>
            </a:pPr>
            <a:endParaRPr lang="en-US" dirty="0">
              <a:solidFill>
                <a:schemeClr val="bg1"/>
              </a:solidFill>
            </a:endParaRPr>
          </a:p>
          <a:p>
            <a:r>
              <a:rPr lang="en-US" sz="1200" b="1" dirty="0">
                <a:solidFill>
                  <a:schemeClr val="bg1"/>
                </a:solidFill>
              </a:rPr>
              <a:t>Ergebnis: </a:t>
            </a:r>
            <a:r>
              <a:rPr lang="en-US" dirty="0">
                <a:solidFill>
                  <a:schemeClr val="bg1"/>
                </a:solidFill>
              </a:rPr>
              <a:t>Diese Debatte wird junge Menschen dazu anregen, die ethischen Implikationen der KI kritisch zu hinterfragen und ihre Fähigkeit zu schärfen, ihre Ansichten zu artikulieren. Durch die Auseinandersetzung mit gegensätzlichen Standpunkten lernen sie, komplexe ethische Fragen aus verschiedenen Perspektiven zu bewerten.</a:t>
            </a:r>
          </a:p>
        </p:txBody>
      </p:sp>
    </p:spTree>
    <p:extLst>
      <p:ext uri="{BB962C8B-B14F-4D97-AF65-F5344CB8AC3E}">
        <p14:creationId xmlns:p14="http://schemas.microsoft.com/office/powerpoint/2010/main" val="347002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B123C-DE23-971C-146B-FDFE0EB8053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F6C7E57-0C16-8C65-97A7-12BAD081D02C}"/>
              </a:ext>
            </a:extLst>
          </p:cNvPr>
          <p:cNvSpPr/>
          <p:nvPr/>
        </p:nvSpPr>
        <p:spPr>
          <a:xfrm>
            <a:off x="-1" y="2317764"/>
            <a:ext cx="7559675" cy="5098188"/>
          </a:xfrm>
          <a:prstGeom prst="rect">
            <a:avLst/>
          </a:prstGeom>
          <a:solidFill>
            <a:srgbClr val="E8068C"/>
          </a:solidFill>
          <a:ln>
            <a:solidFill>
              <a:srgbClr val="E8068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11">
            <a:extLst>
              <a:ext uri="{FF2B5EF4-FFF2-40B4-BE49-F238E27FC236}">
                <a16:creationId xmlns:a16="http://schemas.microsoft.com/office/drawing/2014/main" id="{9D0BA93A-2112-F692-6946-C5C6CBA6596A}"/>
              </a:ext>
            </a:extLst>
          </p:cNvPr>
          <p:cNvSpPr>
            <a:spLocks noGrp="1"/>
          </p:cNvSpPr>
          <p:nvPr>
            <p:ph type="body" sz="quarter" idx="30"/>
          </p:nvPr>
        </p:nvSpPr>
        <p:spPr>
          <a:xfrm>
            <a:off x="437243" y="952622"/>
            <a:ext cx="6570888" cy="785535"/>
          </a:xfrm>
        </p:spPr>
        <p:txBody>
          <a:bodyPr/>
          <a:lstStyle/>
          <a:p>
            <a:r>
              <a:rPr lang="en-US" dirty="0"/>
              <a:t>Jugendliche durch </a:t>
            </a:r>
            <a:r>
              <a:rPr lang="en-US" dirty="0" err="1"/>
              <a:t>Diskussionen</a:t>
            </a:r>
            <a:r>
              <a:rPr lang="en-US" dirty="0"/>
              <a:t> </a:t>
            </a:r>
            <a:br>
              <a:rPr lang="en-US" dirty="0"/>
            </a:br>
            <a:r>
              <a:rPr lang="en-US" dirty="0" err="1"/>
              <a:t>über</a:t>
            </a:r>
            <a:r>
              <a:rPr lang="en-US" dirty="0"/>
              <a:t> ethische KI begleiten</a:t>
            </a:r>
          </a:p>
        </p:txBody>
      </p:sp>
      <p:sp>
        <p:nvSpPr>
          <p:cNvPr id="3" name="Text Placeholder 12">
            <a:extLst>
              <a:ext uri="{FF2B5EF4-FFF2-40B4-BE49-F238E27FC236}">
                <a16:creationId xmlns:a16="http://schemas.microsoft.com/office/drawing/2014/main" id="{C4CD784F-9125-A98B-FBB7-15D20F24CE04}"/>
              </a:ext>
            </a:extLst>
          </p:cNvPr>
          <p:cNvSpPr txBox="1">
            <a:spLocks/>
          </p:cNvSpPr>
          <p:nvPr/>
        </p:nvSpPr>
        <p:spPr>
          <a:xfrm>
            <a:off x="459192" y="2473377"/>
            <a:ext cx="6526988" cy="4436737"/>
          </a:xfrm>
          <a:prstGeom prst="rect">
            <a:avLst/>
          </a:prstGeom>
        </p:spPr>
        <p:txBody>
          <a:bodyPr vert="horz" lIns="91440" tIns="45720" rIns="91440" bIns="45720" numCol="1" spcCol="288000" rtlCol="0" anchor="t">
            <a:noAutofit/>
          </a:bodyPr>
          <a:lstStyle>
            <a:lvl1pPr marL="0" indent="0" algn="just" defTabSz="755934" rtl="0" eaLnBrk="1" latinLnBrk="0" hangingPunct="1">
              <a:lnSpc>
                <a:spcPct val="100000"/>
              </a:lnSpc>
              <a:spcBef>
                <a:spcPts val="0"/>
              </a:spcBef>
              <a:buFont typeface="Arial" panose="020B0604020202020204" pitchFamily="34" charset="0"/>
              <a:buNone/>
              <a:defRPr sz="1100" b="0" i="0" kern="1200">
                <a:solidFill>
                  <a:srgbClr val="10153D"/>
                </a:solidFill>
                <a:latin typeface="Calibri" panose="020F0502020204030204" pitchFamily="34" charset="0"/>
                <a:ea typeface="+mn-ea"/>
                <a:cs typeface="Calibri" panose="020F050202020403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342900" indent="-342900">
              <a:buFont typeface="+mj-lt"/>
              <a:buAutoNum type="arabicPeriod" startAt="2"/>
            </a:pPr>
            <a:r>
              <a:rPr lang="en-US" sz="1400" b="1" dirty="0">
                <a:solidFill>
                  <a:schemeClr val="bg1"/>
                </a:solidFill>
              </a:rPr>
              <a:t>KI in der realen Welt: Fallstudienanalyse</a:t>
            </a:r>
          </a:p>
          <a:p>
            <a:endParaRPr lang="en-US" sz="1400" b="1" dirty="0">
              <a:solidFill>
                <a:schemeClr val="bg1"/>
              </a:solidFill>
            </a:endParaRPr>
          </a:p>
          <a:p>
            <a:r>
              <a:rPr lang="en-US" dirty="0">
                <a:solidFill>
                  <a:schemeClr val="bg1"/>
                </a:solidFill>
              </a:rPr>
              <a:t>Fallstudien liefern wertvolle Einblicke in die realen Anwendungsbereiche von KI und ihre ethischen Implikationen. Durch die Analyse konkreter Beispiele für den Einsatz von KI-Technologien können junge Menschen besser verstehen, wie KI sowohl der Gesellschaft zugutekommen als auch ethische Dilemmata hervorrufen kann.</a:t>
            </a:r>
          </a:p>
          <a:p>
            <a:endParaRPr lang="en-US" dirty="0">
              <a:solidFill>
                <a:schemeClr val="bg1"/>
              </a:solidFill>
            </a:endParaRPr>
          </a:p>
          <a:p>
            <a:r>
              <a:rPr lang="en-US" sz="1200" b="1" dirty="0">
                <a:solidFill>
                  <a:schemeClr val="bg1"/>
                </a:solidFill>
              </a:rPr>
              <a:t>Ziel: </a:t>
            </a:r>
            <a:r>
              <a:rPr lang="en-US" dirty="0">
                <a:solidFill>
                  <a:schemeClr val="bg1"/>
                </a:solidFill>
              </a:rPr>
              <a:t>Den Teilnehmern ermöglichen, reale Beispiele für KI-Anwendungen zu erkunden und deren ethische Konsequenzen zu diskutieren.</a:t>
            </a:r>
          </a:p>
          <a:p>
            <a:endParaRPr lang="en-US" dirty="0">
              <a:solidFill>
                <a:schemeClr val="bg1"/>
              </a:solidFill>
            </a:endParaRPr>
          </a:p>
          <a:p>
            <a:r>
              <a:rPr lang="en-US" sz="1200" b="1" dirty="0">
                <a:solidFill>
                  <a:schemeClr val="bg1"/>
                </a:solidFill>
              </a:rPr>
              <a:t>Anleitung:</a:t>
            </a:r>
          </a:p>
          <a:p>
            <a:pPr marL="171450" indent="-171450">
              <a:buFont typeface="Arial" panose="020B0604020202020204" pitchFamily="34" charset="0"/>
              <a:buChar char="•"/>
            </a:pPr>
            <a:r>
              <a:rPr lang="en-US" b="1" dirty="0">
                <a:solidFill>
                  <a:schemeClr val="bg1"/>
                </a:solidFill>
              </a:rPr>
              <a:t>Präsentieren Sie eine Fallstudie: </a:t>
            </a:r>
            <a:r>
              <a:rPr lang="en-US" dirty="0">
                <a:solidFill>
                  <a:schemeClr val="bg1"/>
                </a:solidFill>
              </a:rPr>
              <a:t>Wählen Sie eine Fallstudie, die ein ethisches Dilemma im Zusammenhang mit KI aufzeigt. Sie könnten beispielsweise den Fall eines Gesichtserkennungssystems vorstellen, das von Strafverfolgungsbehörden eingesetzt wird, oder ein KI-gestütztes Einstellungstool, das unbeabsichtigt bestimmte Gruppen von Bewerbern diskriminiert.</a:t>
            </a:r>
          </a:p>
          <a:p>
            <a:pPr marL="171450" indent="-171450">
              <a:buFont typeface="Arial" panose="020B0604020202020204" pitchFamily="34" charset="0"/>
              <a:buChar char="•"/>
            </a:pPr>
            <a:r>
              <a:rPr lang="en-US" b="1" dirty="0">
                <a:solidFill>
                  <a:schemeClr val="bg1"/>
                </a:solidFill>
              </a:rPr>
              <a:t>Gruppendiskussion: </a:t>
            </a:r>
            <a:r>
              <a:rPr lang="en-US" dirty="0">
                <a:solidFill>
                  <a:schemeClr val="bg1"/>
                </a:solidFill>
              </a:rPr>
              <a:t>Teilen Sie die Gruppe nach der Präsentation der Fallstudie in kleinere Teams auf und lassen Sie sie die aufgeworfenen ethischen Fragen diskutieren. Regen Sie sie dazu an, sich mit Fragen wie den folgenden auseinanderzusetzen:</a:t>
            </a:r>
          </a:p>
          <a:p>
            <a:pPr marL="549417" lvl="1" indent="-171450">
              <a:buFont typeface="Arial" panose="020B0604020202020204" pitchFamily="34" charset="0"/>
              <a:buChar char="•"/>
            </a:pPr>
            <a:r>
              <a:rPr lang="en-US" sz="1100" dirty="0">
                <a:solidFill>
                  <a:schemeClr val="bg1"/>
                </a:solidFill>
                <a:latin typeface="+mn-lt"/>
              </a:rPr>
              <a:t>Welche ethischen Fragen ergeben sich aus dieser KI-Technologie?</a:t>
            </a:r>
          </a:p>
          <a:p>
            <a:pPr marL="549417" lvl="1" indent="-171450">
              <a:buFont typeface="Arial" panose="020B0604020202020204" pitchFamily="34" charset="0"/>
              <a:buChar char="•"/>
            </a:pPr>
            <a:r>
              <a:rPr lang="en-US" sz="1100" dirty="0">
                <a:solidFill>
                  <a:schemeClr val="bg1"/>
                </a:solidFill>
                <a:latin typeface="+mn-lt"/>
              </a:rPr>
              <a:t>Wer ist von diesen Fragen betroffen (z. B. Einzelpersonen, Gemeinschaften, Gesellschaft)?</a:t>
            </a:r>
          </a:p>
          <a:p>
            <a:pPr marL="549417" lvl="1" indent="-171450">
              <a:buFont typeface="Arial" panose="020B0604020202020204" pitchFamily="34" charset="0"/>
              <a:buChar char="•"/>
            </a:pPr>
            <a:r>
              <a:rPr lang="en-US" sz="1100" dirty="0">
                <a:solidFill>
                  <a:schemeClr val="bg1"/>
                </a:solidFill>
                <a:latin typeface="+mn-lt"/>
              </a:rPr>
              <a:t>Welche Maßnahmen können ergriffen werden, um diese Fragen anzugehen?</a:t>
            </a:r>
          </a:p>
          <a:p>
            <a:pPr marL="171450" indent="-171450">
              <a:buFont typeface="Arial" panose="020B0604020202020204" pitchFamily="34" charset="0"/>
              <a:buChar char="•"/>
            </a:pPr>
            <a:r>
              <a:rPr lang="en-US" b="1" dirty="0">
                <a:solidFill>
                  <a:schemeClr val="bg1"/>
                </a:solidFill>
                <a:latin typeface="+mn-lt"/>
              </a:rPr>
              <a:t>Präsentation der Ergebnisse: </a:t>
            </a:r>
            <a:r>
              <a:rPr lang="en-US" dirty="0">
                <a:solidFill>
                  <a:schemeClr val="bg1"/>
                </a:solidFill>
                <a:latin typeface="+mn-lt"/>
              </a:rPr>
              <a:t>Jede Gruppe sollte ihre Analyse vorstellen und sich dabei auf ihre Lösungsvorschläge für die in der Fallstudie dargestellten ethischen Dilemmata konzentrieren.</a:t>
            </a:r>
          </a:p>
          <a:p>
            <a:pPr marL="171450" indent="-171450">
              <a:buFont typeface="Arial" panose="020B0604020202020204" pitchFamily="34" charset="0"/>
              <a:buChar char="•"/>
            </a:pPr>
            <a:endParaRPr lang="en-US" dirty="0">
              <a:solidFill>
                <a:schemeClr val="bg1"/>
              </a:solidFill>
              <a:latin typeface="+mn-lt"/>
            </a:endParaRPr>
          </a:p>
          <a:p>
            <a:r>
              <a:rPr lang="en-US" sz="1200" b="1" dirty="0">
                <a:solidFill>
                  <a:schemeClr val="bg1"/>
                </a:solidFill>
                <a:latin typeface="+mn-lt"/>
              </a:rPr>
              <a:t>Ergebnis: </a:t>
            </a:r>
            <a:r>
              <a:rPr lang="en-US" dirty="0">
                <a:solidFill>
                  <a:schemeClr val="bg1"/>
                </a:solidFill>
                <a:latin typeface="+mn-lt"/>
              </a:rPr>
              <a:t>Diese Aktivität hilft jungen Menschen, ihre analytischen Fähigkeiten zu entwickeln, indem sie KI-Technologien aus ethischer Sicht bewerten. Außerdem regt sie sie dazu an, darüber nachzudenken, wie sie die ethischen Herausforderungen der KI auf praktische und umsetzbare Weise angehen können.</a:t>
            </a:r>
          </a:p>
        </p:txBody>
      </p:sp>
      <p:sp>
        <p:nvSpPr>
          <p:cNvPr id="7" name="Slide Number Placeholder 9">
            <a:extLst>
              <a:ext uri="{FF2B5EF4-FFF2-40B4-BE49-F238E27FC236}">
                <a16:creationId xmlns:a16="http://schemas.microsoft.com/office/drawing/2014/main" id="{75D5E45A-6BFD-0A3D-4BDC-006043748817}"/>
              </a:ext>
            </a:extLst>
          </p:cNvPr>
          <p:cNvSpPr txBox="1">
            <a:spLocks/>
          </p:cNvSpPr>
          <p:nvPr/>
        </p:nvSpPr>
        <p:spPr>
          <a:xfrm>
            <a:off x="6895802" y="10132358"/>
            <a:ext cx="424721" cy="465137"/>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lumMod val="65000"/>
                    <a:lumOff val="35000"/>
                  </a:schemeClr>
                </a:solidFill>
                <a:latin typeface="Calibri" panose="020F0502020204030204" pitchFamily="34" charset="0"/>
                <a:ea typeface="Open Sans" panose="020B060603050402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B2079F2-58AF-ED44-82D7-E04B2F6FD686}" type="slidenum">
              <a:rPr lang="en-US" smtClean="0"/>
              <a:t>2</a:t>
            </a:fld>
            <a:endParaRPr lang="en-US" dirty="0"/>
          </a:p>
        </p:txBody>
      </p:sp>
      <p:pic>
        <p:nvPicPr>
          <p:cNvPr id="17" name="Picture 16">
            <a:hlinkClick r:id="rId2"/>
            <a:extLst>
              <a:ext uri="{FF2B5EF4-FFF2-40B4-BE49-F238E27FC236}">
                <a16:creationId xmlns:a16="http://schemas.microsoft.com/office/drawing/2014/main" id="{3F99FAC4-3290-3C8E-D052-C89FAF9E106B}"/>
              </a:ext>
            </a:extLst>
          </p:cNvPr>
          <p:cNvPicPr>
            <a:picLocks noChangeAspect="1"/>
          </p:cNvPicPr>
          <p:nvPr/>
        </p:nvPicPr>
        <p:blipFill rotWithShape="1">
          <a:blip r:embed="rId3">
            <a:extLst>
              <a:ext uri="{28A0092B-C50C-407E-A947-70E740481C1C}">
                <a14:useLocalDpi xmlns:a14="http://schemas.microsoft.com/office/drawing/2010/main"/>
              </a:ext>
            </a:extLst>
          </a:blip>
          <a:srcRect b="20571"/>
          <a:stretch/>
        </p:blipFill>
        <p:spPr>
          <a:xfrm rot="5400000">
            <a:off x="865030" y="6369014"/>
            <a:ext cx="2988246" cy="4718306"/>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9" name="Rectangle 18">
            <a:hlinkClick r:id="rId2"/>
            <a:extLst>
              <a:ext uri="{FF2B5EF4-FFF2-40B4-BE49-F238E27FC236}">
                <a16:creationId xmlns:a16="http://schemas.microsoft.com/office/drawing/2014/main" id="{0B30B167-622F-7DAF-315B-4CC46351FD55}"/>
              </a:ext>
            </a:extLst>
          </p:cNvPr>
          <p:cNvSpPr/>
          <p:nvPr/>
        </p:nvSpPr>
        <p:spPr>
          <a:xfrm>
            <a:off x="-1" y="7563878"/>
            <a:ext cx="3779837" cy="2328578"/>
          </a:xfrm>
          <a:prstGeom prst="rect">
            <a:avLst/>
          </a:prstGeom>
          <a:solidFill>
            <a:srgbClr val="E8068C"/>
          </a:solidFill>
          <a:ln>
            <a:solidFill>
              <a:srgbClr val="E8068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44D31DFE-3220-4FE5-5A52-1DC1776B277B}"/>
              </a:ext>
            </a:extLst>
          </p:cNvPr>
          <p:cNvSpPr txBox="1"/>
          <p:nvPr/>
        </p:nvSpPr>
        <p:spPr>
          <a:xfrm>
            <a:off x="5060863" y="9214448"/>
            <a:ext cx="2096214" cy="461665"/>
          </a:xfrm>
          <a:prstGeom prst="rect">
            <a:avLst/>
          </a:prstGeom>
          <a:noFill/>
        </p:spPr>
        <p:txBody>
          <a:bodyPr wrap="square" rtlCol="0">
            <a:spAutoFit/>
          </a:bodyPr>
          <a:lstStyle/>
          <a:p>
            <a:pPr algn="ctr"/>
            <a:r>
              <a:rPr lang="en-US" sz="1200" b="1" dirty="0"/>
              <a:t>LESEN: </a:t>
            </a:r>
            <a:r>
              <a:rPr lang="en-US" sz="1200" b="1" i="0" dirty="0">
                <a:solidFill>
                  <a:srgbClr val="000000"/>
                </a:solidFill>
                <a:effectLst/>
                <a:latin typeface="aktiv-grotesk"/>
              </a:rPr>
              <a:t>Künstliche Intelligenz – Beispiele für ethische Dilemmata</a:t>
            </a:r>
          </a:p>
        </p:txBody>
      </p:sp>
      <p:pic>
        <p:nvPicPr>
          <p:cNvPr id="21" name="Picture 20" descr="A black background with a black square&#10;&#10;Description automatically generated with medium confidence">
            <a:extLst>
              <a:ext uri="{FF2B5EF4-FFF2-40B4-BE49-F238E27FC236}">
                <a16:creationId xmlns:a16="http://schemas.microsoft.com/office/drawing/2014/main" id="{F81F5433-7EE9-8037-69A8-EA9A9621836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9848660" flipH="1">
            <a:off x="4716298" y="8207699"/>
            <a:ext cx="1349164" cy="1349164"/>
          </a:xfrm>
          <a:prstGeom prst="rect">
            <a:avLst/>
          </a:prstGeom>
        </p:spPr>
      </p:pic>
      <p:pic>
        <p:nvPicPr>
          <p:cNvPr id="23" name="Picture 22" descr="A qr code with a black background&#10;&#10;AI-generated content may be incorrect.">
            <a:hlinkClick r:id="rId2"/>
            <a:extLst>
              <a:ext uri="{FF2B5EF4-FFF2-40B4-BE49-F238E27FC236}">
                <a16:creationId xmlns:a16="http://schemas.microsoft.com/office/drawing/2014/main" id="{1C8353A9-A147-8145-4345-BE7383A589F3}"/>
              </a:ext>
            </a:extLst>
          </p:cNvPr>
          <p:cNvPicPr>
            <a:picLocks noChangeAspect="1"/>
          </p:cNvPicPr>
          <p:nvPr/>
        </p:nvPicPr>
        <p:blipFill>
          <a:blip r:embed="rId5"/>
          <a:stretch>
            <a:fillRect/>
          </a:stretch>
        </p:blipFill>
        <p:spPr>
          <a:xfrm>
            <a:off x="903274" y="7801646"/>
            <a:ext cx="1871390" cy="1871390"/>
          </a:xfrm>
          <a:prstGeom prst="rect">
            <a:avLst/>
          </a:prstGeom>
        </p:spPr>
      </p:pic>
    </p:spTree>
    <p:extLst>
      <p:ext uri="{BB962C8B-B14F-4D97-AF65-F5344CB8AC3E}">
        <p14:creationId xmlns:p14="http://schemas.microsoft.com/office/powerpoint/2010/main" val="2074666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C76F2-6702-40B5-8A1C-75E5ED32C574}"/>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7F3F6E42-E851-9A83-340A-0636A204546C}"/>
              </a:ext>
            </a:extLst>
          </p:cNvPr>
          <p:cNvSpPr>
            <a:spLocks noGrp="1"/>
          </p:cNvSpPr>
          <p:nvPr>
            <p:ph type="body" sz="quarter" idx="30"/>
          </p:nvPr>
        </p:nvSpPr>
        <p:spPr>
          <a:xfrm>
            <a:off x="437243" y="937632"/>
            <a:ext cx="6570888" cy="785535"/>
          </a:xfrm>
        </p:spPr>
        <p:txBody>
          <a:bodyPr/>
          <a:lstStyle/>
          <a:p>
            <a:r>
              <a:rPr lang="en-US" dirty="0" err="1"/>
              <a:t>Jugendliche</a:t>
            </a:r>
            <a:r>
              <a:rPr lang="en-US" dirty="0"/>
              <a:t> </a:t>
            </a:r>
            <a:r>
              <a:rPr lang="en-US" dirty="0" err="1"/>
              <a:t>durch</a:t>
            </a:r>
            <a:r>
              <a:rPr lang="en-US" dirty="0"/>
              <a:t> </a:t>
            </a:r>
            <a:r>
              <a:rPr lang="en-US" dirty="0" err="1"/>
              <a:t>Diskussionen</a:t>
            </a:r>
            <a:r>
              <a:rPr lang="en-US" dirty="0"/>
              <a:t> </a:t>
            </a:r>
            <a:br>
              <a:rPr lang="en-US" dirty="0"/>
            </a:br>
            <a:r>
              <a:rPr lang="en-US" dirty="0" err="1"/>
              <a:t>über</a:t>
            </a:r>
            <a:r>
              <a:rPr lang="en-US" dirty="0"/>
              <a:t> </a:t>
            </a:r>
            <a:r>
              <a:rPr lang="en-US" dirty="0" err="1"/>
              <a:t>ethische</a:t>
            </a:r>
            <a:r>
              <a:rPr lang="en-US" dirty="0"/>
              <a:t> KI </a:t>
            </a:r>
            <a:r>
              <a:rPr lang="en-US" dirty="0" err="1"/>
              <a:t>begleiten</a:t>
            </a:r>
            <a:endParaRPr lang="en-US" dirty="0"/>
          </a:p>
        </p:txBody>
      </p:sp>
      <p:sp>
        <p:nvSpPr>
          <p:cNvPr id="7" name="Slide Number Placeholder 9">
            <a:extLst>
              <a:ext uri="{FF2B5EF4-FFF2-40B4-BE49-F238E27FC236}">
                <a16:creationId xmlns:a16="http://schemas.microsoft.com/office/drawing/2014/main" id="{1B152B63-07DC-1144-142D-9A6359E5AB64}"/>
              </a:ext>
            </a:extLst>
          </p:cNvPr>
          <p:cNvSpPr txBox="1">
            <a:spLocks/>
          </p:cNvSpPr>
          <p:nvPr/>
        </p:nvSpPr>
        <p:spPr>
          <a:xfrm>
            <a:off x="6895802" y="10132358"/>
            <a:ext cx="424721" cy="465137"/>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lumMod val="65000"/>
                    <a:lumOff val="35000"/>
                  </a:schemeClr>
                </a:solidFill>
                <a:latin typeface="Calibri" panose="020F0502020204030204" pitchFamily="34" charset="0"/>
                <a:ea typeface="Open Sans" panose="020B060603050402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B2079F2-58AF-ED44-82D7-E04B2F6FD686}" type="slidenum">
              <a:rPr lang="en-US" smtClean="0"/>
              <a:t>3</a:t>
            </a:fld>
            <a:endParaRPr lang="en-US" dirty="0"/>
          </a:p>
        </p:txBody>
      </p:sp>
      <p:sp>
        <p:nvSpPr>
          <p:cNvPr id="9" name="Rectangle 8">
            <a:extLst>
              <a:ext uri="{FF2B5EF4-FFF2-40B4-BE49-F238E27FC236}">
                <a16:creationId xmlns:a16="http://schemas.microsoft.com/office/drawing/2014/main" id="{5201BAB4-32D0-AA4D-1F50-CA80B805C9C6}"/>
              </a:ext>
            </a:extLst>
          </p:cNvPr>
          <p:cNvSpPr/>
          <p:nvPr/>
        </p:nvSpPr>
        <p:spPr>
          <a:xfrm>
            <a:off x="-1" y="2317764"/>
            <a:ext cx="7559675" cy="5098188"/>
          </a:xfrm>
          <a:prstGeom prst="rect">
            <a:avLst/>
          </a:prstGeom>
          <a:solidFill>
            <a:srgbClr val="E8068C"/>
          </a:solidFill>
          <a:ln>
            <a:solidFill>
              <a:srgbClr val="E8068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4FD050CD-08AB-7E1F-C514-4D04EBF517D0}"/>
              </a:ext>
            </a:extLst>
          </p:cNvPr>
          <p:cNvSpPr/>
          <p:nvPr/>
        </p:nvSpPr>
        <p:spPr>
          <a:xfrm>
            <a:off x="-1" y="2317764"/>
            <a:ext cx="7559675" cy="5098188"/>
          </a:xfrm>
          <a:prstGeom prst="rect">
            <a:avLst/>
          </a:prstGeom>
          <a:solidFill>
            <a:srgbClr val="3171A7"/>
          </a:solidFill>
          <a:ln>
            <a:solidFill>
              <a:srgbClr val="3171A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12">
            <a:extLst>
              <a:ext uri="{FF2B5EF4-FFF2-40B4-BE49-F238E27FC236}">
                <a16:creationId xmlns:a16="http://schemas.microsoft.com/office/drawing/2014/main" id="{33846423-EC66-4C82-D8FD-A5E6CE9AA738}"/>
              </a:ext>
            </a:extLst>
          </p:cNvPr>
          <p:cNvSpPr txBox="1">
            <a:spLocks/>
          </p:cNvSpPr>
          <p:nvPr/>
        </p:nvSpPr>
        <p:spPr>
          <a:xfrm>
            <a:off x="149901" y="2317765"/>
            <a:ext cx="7409771" cy="4825512"/>
          </a:xfrm>
          <a:prstGeom prst="rect">
            <a:avLst/>
          </a:prstGeom>
        </p:spPr>
        <p:txBody>
          <a:bodyPr vert="horz" lIns="91440" tIns="45720" rIns="91440" bIns="45720" numCol="1" spcCol="288000" rtlCol="0" anchor="t">
            <a:noAutofit/>
          </a:bodyPr>
          <a:lstStyle>
            <a:lvl1pPr marL="0" indent="0" algn="just" defTabSz="755934" rtl="0" eaLnBrk="1" latinLnBrk="0" hangingPunct="1">
              <a:lnSpc>
                <a:spcPct val="100000"/>
              </a:lnSpc>
              <a:spcBef>
                <a:spcPts val="0"/>
              </a:spcBef>
              <a:buFont typeface="Arial" panose="020B0604020202020204" pitchFamily="34" charset="0"/>
              <a:buNone/>
              <a:defRPr sz="1100" b="0" i="0" kern="1200">
                <a:solidFill>
                  <a:srgbClr val="10153D"/>
                </a:solidFill>
                <a:latin typeface="Calibri" panose="020F0502020204030204" pitchFamily="34" charset="0"/>
                <a:ea typeface="+mn-ea"/>
                <a:cs typeface="Calibri" panose="020F050202020403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r>
              <a:rPr lang="en-US" sz="1400" b="1" dirty="0">
                <a:solidFill>
                  <a:schemeClr val="bg1"/>
                </a:solidFill>
                <a:latin typeface="+mn-lt"/>
              </a:rPr>
              <a:t>3</a:t>
            </a:r>
            <a:r>
              <a:rPr lang="en-US" sz="1600" b="1" dirty="0">
                <a:solidFill>
                  <a:schemeClr val="bg1"/>
                </a:solidFill>
                <a:latin typeface="+mn-lt"/>
              </a:rPr>
              <a:t>. </a:t>
            </a:r>
            <a:r>
              <a:rPr lang="en-US" sz="1400" b="1" dirty="0">
                <a:solidFill>
                  <a:schemeClr val="bg1"/>
                </a:solidFill>
                <a:latin typeface="+mn-lt"/>
              </a:rPr>
              <a:t>Rollenspiel: Wer ist verantwortlich?</a:t>
            </a:r>
          </a:p>
          <a:p>
            <a:endParaRPr lang="en-US" b="1" dirty="0">
              <a:solidFill>
                <a:schemeClr val="bg1"/>
              </a:solidFill>
              <a:latin typeface="+mn-lt"/>
            </a:endParaRPr>
          </a:p>
          <a:p>
            <a:r>
              <a:rPr lang="en-US" dirty="0">
                <a:solidFill>
                  <a:schemeClr val="bg1"/>
                </a:solidFill>
                <a:latin typeface="+mn-lt"/>
              </a:rPr>
              <a:t>Rollenspiele können jungen Menschen helfen, sich in verschiedene Interessengruppen hineinzuversetzen, die an ethischen Dilemmata im Zusammenhang mit KI beteiligt sind. Diese Übung hilft den Teilnehmern, sich Gedanken darüber zu machen, wie verschiedene Personen oder Organisationen mit ethischen Fragen umgehen könnten und welche Auswirkungen ihre Entscheidungen auf andere haben.</a:t>
            </a:r>
          </a:p>
          <a:p>
            <a:endParaRPr lang="en-US" b="1" dirty="0">
              <a:solidFill>
                <a:schemeClr val="bg1"/>
              </a:solidFill>
              <a:latin typeface="+mn-lt"/>
            </a:endParaRPr>
          </a:p>
          <a:p>
            <a:r>
              <a:rPr lang="en-US" sz="1200" b="1" dirty="0">
                <a:solidFill>
                  <a:schemeClr val="bg1"/>
                </a:solidFill>
                <a:latin typeface="+mn-lt"/>
              </a:rPr>
              <a:t>Ziel: </a:t>
            </a:r>
            <a:r>
              <a:rPr lang="en-US" dirty="0">
                <a:solidFill>
                  <a:schemeClr val="bg1"/>
                </a:solidFill>
                <a:latin typeface="+mn-lt"/>
              </a:rPr>
              <a:t>Jugendliche dazu anregen, sich mit der Frage der Rechenschaftspflicht und Verantwortung in KI-Systemen auseinanderzusetzen.</a:t>
            </a:r>
          </a:p>
          <a:p>
            <a:endParaRPr lang="en-US" b="1" dirty="0">
              <a:solidFill>
                <a:schemeClr val="bg1"/>
              </a:solidFill>
              <a:latin typeface="+mn-lt"/>
            </a:endParaRPr>
          </a:p>
          <a:p>
            <a:r>
              <a:rPr lang="en-US" sz="1200" b="1" dirty="0">
                <a:solidFill>
                  <a:schemeClr val="bg1"/>
                </a:solidFill>
                <a:latin typeface="+mn-lt"/>
              </a:rPr>
              <a:t>Anleitung</a:t>
            </a:r>
            <a:endParaRPr lang="en-US" sz="1200" dirty="0">
              <a:solidFill>
                <a:schemeClr val="bg1"/>
              </a:solidFill>
              <a:latin typeface="+mn-lt"/>
            </a:endParaRPr>
          </a:p>
          <a:p>
            <a:pPr marL="171450" indent="-171450">
              <a:buFont typeface="Arial" panose="020B0604020202020204" pitchFamily="34" charset="0"/>
              <a:buChar char="•"/>
            </a:pPr>
            <a:r>
              <a:rPr lang="en-US" b="1" dirty="0">
                <a:solidFill>
                  <a:schemeClr val="bg1"/>
                </a:solidFill>
                <a:latin typeface="+mn-lt"/>
              </a:rPr>
              <a:t>Rollen zuweisen: </a:t>
            </a:r>
            <a:r>
              <a:rPr lang="en-US" dirty="0">
                <a:solidFill>
                  <a:schemeClr val="bg1"/>
                </a:solidFill>
                <a:latin typeface="+mn-lt"/>
              </a:rPr>
              <a:t>Weisen Sie den Teilnehmern verschiedene Rollen zu, die sie in einem Szenario spielen sollen, in dem ein KI-System ein ethisches Dilemma verursacht. Beispiele für Rollen sind:</a:t>
            </a:r>
          </a:p>
          <a:p>
            <a:pPr marL="549417" lvl="1" indent="-171450">
              <a:buFont typeface="Arial" panose="020B0604020202020204" pitchFamily="34" charset="0"/>
              <a:buChar char="•"/>
            </a:pPr>
            <a:r>
              <a:rPr lang="en-US" sz="1100" dirty="0">
                <a:solidFill>
                  <a:schemeClr val="bg1"/>
                </a:solidFill>
                <a:latin typeface="+mn-lt"/>
              </a:rPr>
              <a:t>Der Entwickler, der das KI-System erstellt hat.</a:t>
            </a:r>
          </a:p>
          <a:p>
            <a:pPr marL="549417" lvl="1" indent="-171450">
              <a:buFont typeface="Arial" panose="020B0604020202020204" pitchFamily="34" charset="0"/>
              <a:buChar char="•"/>
            </a:pPr>
            <a:r>
              <a:rPr lang="en-US" sz="1100" dirty="0">
                <a:solidFill>
                  <a:schemeClr val="bg1"/>
                </a:solidFill>
                <a:latin typeface="+mn-lt"/>
              </a:rPr>
              <a:t>Die staatliche Aufsichtsbehörde, die für die Überwachung der KI-Nutzung zuständig ist.</a:t>
            </a:r>
          </a:p>
          <a:p>
            <a:pPr marL="549417" lvl="1" indent="-171450">
              <a:buFont typeface="Arial" panose="020B0604020202020204" pitchFamily="34" charset="0"/>
              <a:buChar char="•"/>
            </a:pPr>
            <a:r>
              <a:rPr lang="en-US" sz="1100" dirty="0">
                <a:solidFill>
                  <a:schemeClr val="bg1"/>
                </a:solidFill>
                <a:latin typeface="+mn-lt"/>
              </a:rPr>
              <a:t>Ein Verbraucher, der von den Entscheidungen der KI betroffen ist.</a:t>
            </a:r>
          </a:p>
          <a:p>
            <a:pPr marL="549417" lvl="1" indent="-171450">
              <a:buFont typeface="Arial" panose="020B0604020202020204" pitchFamily="34" charset="0"/>
              <a:buChar char="•"/>
            </a:pPr>
            <a:r>
              <a:rPr lang="en-US" sz="1100" dirty="0">
                <a:solidFill>
                  <a:schemeClr val="bg1"/>
                </a:solidFill>
                <a:latin typeface="+mn-lt"/>
              </a:rPr>
              <a:t>Ein Aktivist, der sich für den verantwortungsvollen Einsatz von KI einsetzt.</a:t>
            </a:r>
          </a:p>
          <a:p>
            <a:pPr marL="171450" indent="-171450">
              <a:buFont typeface="Arial" panose="020B0604020202020204" pitchFamily="34" charset="0"/>
              <a:buChar char="•"/>
            </a:pPr>
            <a:r>
              <a:rPr lang="en-US" b="1" dirty="0">
                <a:solidFill>
                  <a:schemeClr val="bg1"/>
                </a:solidFill>
                <a:latin typeface="+mn-lt"/>
              </a:rPr>
              <a:t>Szenario-Einrichtung: </a:t>
            </a:r>
            <a:r>
              <a:rPr lang="en-US" dirty="0">
                <a:solidFill>
                  <a:schemeClr val="bg1"/>
                </a:solidFill>
                <a:latin typeface="+mn-lt"/>
              </a:rPr>
              <a:t>Stellen Sie ein Szenario vor, z. B. ein voreingenommenes KI-System, das für die Genehmigung von Krediten verwendet wird und Menschen aus bestimmten Gemeinschaften unverhältnismäßig oft Kredite verweigert. Die Teilnehmer diskutieren, wer für den durch das KI-System verursachten Schaden verantwortlich ist.</a:t>
            </a:r>
          </a:p>
          <a:p>
            <a:pPr marL="171450" indent="-171450">
              <a:buFont typeface="Arial" panose="020B0604020202020204" pitchFamily="34" charset="0"/>
              <a:buChar char="•"/>
            </a:pPr>
            <a:r>
              <a:rPr lang="en-US" b="1" dirty="0">
                <a:solidFill>
                  <a:schemeClr val="bg1"/>
                </a:solidFill>
                <a:latin typeface="+mn-lt"/>
              </a:rPr>
              <a:t>Diskussion und Entscheidungsfindung: </a:t>
            </a:r>
            <a:r>
              <a:rPr lang="en-US" dirty="0">
                <a:solidFill>
                  <a:schemeClr val="bg1"/>
                </a:solidFill>
                <a:latin typeface="+mn-lt"/>
              </a:rPr>
              <a:t>Jeder Rollenträger muss seine Position vertreten und Maßnahmen zur Behebung des ethischen Problems vorschlagen. Lassen Sie die Teilnehmer nach einer festgelegten Zeit über die beste Vorgehensweise zur Lösung des Dilemmas diskutieren und abstimmen.</a:t>
            </a:r>
          </a:p>
          <a:p>
            <a:pPr marL="171450" indent="-171450">
              <a:buFont typeface="Arial" panose="020B0604020202020204" pitchFamily="34" charset="0"/>
              <a:buChar char="•"/>
            </a:pPr>
            <a:endParaRPr lang="en-US" dirty="0">
              <a:solidFill>
                <a:schemeClr val="bg1"/>
              </a:solidFill>
              <a:latin typeface="+mn-lt"/>
            </a:endParaRPr>
          </a:p>
          <a:p>
            <a:r>
              <a:rPr lang="en-US" sz="1200" b="1" dirty="0">
                <a:solidFill>
                  <a:schemeClr val="bg1"/>
                </a:solidFill>
                <a:latin typeface="+mn-lt"/>
              </a:rPr>
              <a:t>Ergebnis: </a:t>
            </a:r>
            <a:r>
              <a:rPr lang="en-US" dirty="0">
                <a:solidFill>
                  <a:schemeClr val="bg1"/>
                </a:solidFill>
                <a:latin typeface="+mn-lt"/>
              </a:rPr>
              <a:t>Diese Rollenspielaktivität hilft Jugendlichen, die Perspektiven verschiedener Interessengruppen zu berücksichtigen und kritisch über die Verantwortlichkeit in KI-Systemen nachzudenken. Sie regt sie dazu an, über die Komplexität von Verantwortung im digitalen Zeitalter und den Beitrag verschiedener Parteien zur ethischen Entscheidungsfindung nachzudenken.</a:t>
            </a:r>
          </a:p>
          <a:p>
            <a:endParaRPr lang="en-US" dirty="0">
              <a:solidFill>
                <a:schemeClr val="bg1"/>
              </a:solidFill>
              <a:latin typeface="+mn-lt"/>
            </a:endParaRPr>
          </a:p>
        </p:txBody>
      </p:sp>
      <p:pic>
        <p:nvPicPr>
          <p:cNvPr id="10" name="Picture 9">
            <a:hlinkClick r:id="rId2"/>
            <a:extLst>
              <a:ext uri="{FF2B5EF4-FFF2-40B4-BE49-F238E27FC236}">
                <a16:creationId xmlns:a16="http://schemas.microsoft.com/office/drawing/2014/main" id="{B6FBF50E-3FC7-881F-760B-61F289F6BEDC}"/>
              </a:ext>
            </a:extLst>
          </p:cNvPr>
          <p:cNvPicPr>
            <a:picLocks noChangeAspect="1"/>
          </p:cNvPicPr>
          <p:nvPr/>
        </p:nvPicPr>
        <p:blipFill rotWithShape="1">
          <a:blip r:embed="rId3">
            <a:extLst>
              <a:ext uri="{28A0092B-C50C-407E-A947-70E740481C1C}">
                <a14:useLocalDpi xmlns:a14="http://schemas.microsoft.com/office/drawing/2010/main"/>
              </a:ext>
            </a:extLst>
          </a:blip>
          <a:srcRect b="20571"/>
          <a:stretch/>
        </p:blipFill>
        <p:spPr>
          <a:xfrm rot="16200000" flipH="1">
            <a:off x="3706399" y="6369014"/>
            <a:ext cx="2988246" cy="4718306"/>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1" name="Rectangle 10">
            <a:hlinkClick r:id="rId2"/>
            <a:extLst>
              <a:ext uri="{FF2B5EF4-FFF2-40B4-BE49-F238E27FC236}">
                <a16:creationId xmlns:a16="http://schemas.microsoft.com/office/drawing/2014/main" id="{5CDDDCF8-4015-059C-CED9-FA204DE2A725}"/>
              </a:ext>
            </a:extLst>
          </p:cNvPr>
          <p:cNvSpPr/>
          <p:nvPr/>
        </p:nvSpPr>
        <p:spPr>
          <a:xfrm>
            <a:off x="3779836" y="7573052"/>
            <a:ext cx="3779837" cy="2328578"/>
          </a:xfrm>
          <a:prstGeom prst="rect">
            <a:avLst/>
          </a:prstGeom>
          <a:solidFill>
            <a:srgbClr val="3171A7"/>
          </a:solidFill>
          <a:ln>
            <a:solidFill>
              <a:srgbClr val="2E7E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a:extLst>
              <a:ext uri="{FF2B5EF4-FFF2-40B4-BE49-F238E27FC236}">
                <a16:creationId xmlns:a16="http://schemas.microsoft.com/office/drawing/2014/main" id="{020DA50A-5E34-822E-4F93-C77C87D18FC2}"/>
              </a:ext>
            </a:extLst>
          </p:cNvPr>
          <p:cNvSpPr txBox="1"/>
          <p:nvPr/>
        </p:nvSpPr>
        <p:spPr>
          <a:xfrm>
            <a:off x="459192" y="9211371"/>
            <a:ext cx="2096214" cy="646331"/>
          </a:xfrm>
          <a:prstGeom prst="rect">
            <a:avLst/>
          </a:prstGeom>
          <a:noFill/>
        </p:spPr>
        <p:txBody>
          <a:bodyPr wrap="square" rtlCol="0">
            <a:spAutoFit/>
          </a:bodyPr>
          <a:lstStyle/>
          <a:p>
            <a:pPr algn="ctr"/>
            <a:r>
              <a:rPr lang="en-US" sz="1200" b="1" dirty="0"/>
              <a:t>LESEN: </a:t>
            </a:r>
            <a:r>
              <a:rPr lang="en-US" sz="1200" b="1" i="0" dirty="0">
                <a:solidFill>
                  <a:srgbClr val="000000"/>
                </a:solidFill>
                <a:effectLst/>
                <a:latin typeface="aktiv-grotesk"/>
              </a:rPr>
              <a:t>Rollenspiel | Zentrum für innovatives Lehren und Lernen</a:t>
            </a:r>
          </a:p>
        </p:txBody>
      </p:sp>
      <p:pic>
        <p:nvPicPr>
          <p:cNvPr id="16" name="Picture 15" descr="A black background with a black square&#10;&#10;Description automatically generated with medium confidence">
            <a:extLst>
              <a:ext uri="{FF2B5EF4-FFF2-40B4-BE49-F238E27FC236}">
                <a16:creationId xmlns:a16="http://schemas.microsoft.com/office/drawing/2014/main" id="{BFADCA8B-66FB-3A5F-CAA0-3E8962CEE4E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751340">
            <a:off x="1449125" y="8204622"/>
            <a:ext cx="1349164" cy="1349164"/>
          </a:xfrm>
          <a:prstGeom prst="rect">
            <a:avLst/>
          </a:prstGeom>
        </p:spPr>
      </p:pic>
      <p:pic>
        <p:nvPicPr>
          <p:cNvPr id="17" name="Picture 16">
            <a:hlinkClick r:id="rId2"/>
            <a:extLst>
              <a:ext uri="{FF2B5EF4-FFF2-40B4-BE49-F238E27FC236}">
                <a16:creationId xmlns:a16="http://schemas.microsoft.com/office/drawing/2014/main" id="{07861AF2-AC1A-F773-B8A6-B247C7902367}"/>
              </a:ext>
            </a:extLst>
          </p:cNvPr>
          <p:cNvPicPr>
            <a:picLocks noChangeAspect="1"/>
          </p:cNvPicPr>
          <p:nvPr/>
        </p:nvPicPr>
        <p:blipFill>
          <a:blip r:embed="rId5"/>
          <a:srcRect/>
          <a:stretch/>
        </p:blipFill>
        <p:spPr>
          <a:xfrm>
            <a:off x="4734059" y="7801646"/>
            <a:ext cx="1871390" cy="1871390"/>
          </a:xfrm>
          <a:prstGeom prst="rect">
            <a:avLst/>
          </a:prstGeom>
        </p:spPr>
      </p:pic>
    </p:spTree>
    <p:extLst>
      <p:ext uri="{BB962C8B-B14F-4D97-AF65-F5344CB8AC3E}">
        <p14:creationId xmlns:p14="http://schemas.microsoft.com/office/powerpoint/2010/main" val="284826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AF39C-0EF2-2C88-4581-2270E834BE2E}"/>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97F6522-DF76-EE17-AFCF-5243683805E2}"/>
              </a:ext>
            </a:extLst>
          </p:cNvPr>
          <p:cNvSpPr/>
          <p:nvPr/>
        </p:nvSpPr>
        <p:spPr>
          <a:xfrm>
            <a:off x="-1" y="2317764"/>
            <a:ext cx="7559675" cy="5098188"/>
          </a:xfrm>
          <a:prstGeom prst="rect">
            <a:avLst/>
          </a:prstGeom>
          <a:solidFill>
            <a:srgbClr val="3171A7"/>
          </a:solidFill>
          <a:ln>
            <a:solidFill>
              <a:srgbClr val="3171A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7C69641B-F8EC-9987-505F-A0B332216BA2}"/>
              </a:ext>
            </a:extLst>
          </p:cNvPr>
          <p:cNvSpPr/>
          <p:nvPr/>
        </p:nvSpPr>
        <p:spPr>
          <a:xfrm>
            <a:off x="0" y="2317764"/>
            <a:ext cx="7559675" cy="5098188"/>
          </a:xfrm>
          <a:prstGeom prst="rect">
            <a:avLst/>
          </a:prstGeom>
          <a:solidFill>
            <a:srgbClr val="702892"/>
          </a:solidFill>
          <a:ln>
            <a:solidFill>
              <a:srgbClr val="7028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7DD0A94F-DDB5-F613-5C70-462C03A12075}"/>
              </a:ext>
            </a:extLst>
          </p:cNvPr>
          <p:cNvSpPr>
            <a:spLocks noGrp="1"/>
          </p:cNvSpPr>
          <p:nvPr>
            <p:ph type="body" sz="quarter" idx="30"/>
          </p:nvPr>
        </p:nvSpPr>
        <p:spPr>
          <a:xfrm>
            <a:off x="437243" y="907652"/>
            <a:ext cx="6570888" cy="785535"/>
          </a:xfrm>
        </p:spPr>
        <p:txBody>
          <a:bodyPr/>
          <a:lstStyle/>
          <a:p>
            <a:r>
              <a:rPr lang="en-US" dirty="0" err="1"/>
              <a:t>Jugendliche</a:t>
            </a:r>
            <a:r>
              <a:rPr lang="en-US" dirty="0"/>
              <a:t> </a:t>
            </a:r>
            <a:r>
              <a:rPr lang="en-US" dirty="0" err="1"/>
              <a:t>durch</a:t>
            </a:r>
            <a:r>
              <a:rPr lang="en-US" dirty="0"/>
              <a:t> </a:t>
            </a:r>
            <a:r>
              <a:rPr lang="en-US" dirty="0" err="1"/>
              <a:t>Diskussionen</a:t>
            </a:r>
            <a:r>
              <a:rPr lang="en-US" dirty="0"/>
              <a:t> </a:t>
            </a:r>
            <a:br>
              <a:rPr lang="en-US" dirty="0"/>
            </a:br>
            <a:r>
              <a:rPr lang="en-US" dirty="0" err="1"/>
              <a:t>über</a:t>
            </a:r>
            <a:r>
              <a:rPr lang="en-US" dirty="0"/>
              <a:t> </a:t>
            </a:r>
            <a:r>
              <a:rPr lang="en-US" dirty="0" err="1"/>
              <a:t>ethische</a:t>
            </a:r>
            <a:r>
              <a:rPr lang="en-US" dirty="0"/>
              <a:t> KI </a:t>
            </a:r>
            <a:r>
              <a:rPr lang="en-US" dirty="0" err="1"/>
              <a:t>begleiten</a:t>
            </a:r>
            <a:endParaRPr lang="en-US" dirty="0"/>
          </a:p>
        </p:txBody>
      </p:sp>
      <p:sp>
        <p:nvSpPr>
          <p:cNvPr id="7" name="Slide Number Placeholder 9">
            <a:extLst>
              <a:ext uri="{FF2B5EF4-FFF2-40B4-BE49-F238E27FC236}">
                <a16:creationId xmlns:a16="http://schemas.microsoft.com/office/drawing/2014/main" id="{EFB19DF3-B925-14E0-614B-26DCE9055574}"/>
              </a:ext>
            </a:extLst>
          </p:cNvPr>
          <p:cNvSpPr txBox="1">
            <a:spLocks/>
          </p:cNvSpPr>
          <p:nvPr/>
        </p:nvSpPr>
        <p:spPr>
          <a:xfrm>
            <a:off x="6895802" y="10132358"/>
            <a:ext cx="424721" cy="465137"/>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lumMod val="65000"/>
                    <a:lumOff val="35000"/>
                  </a:schemeClr>
                </a:solidFill>
                <a:latin typeface="Calibri" panose="020F0502020204030204" pitchFamily="34" charset="0"/>
                <a:ea typeface="Open Sans" panose="020B060603050402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B2079F2-58AF-ED44-82D7-E04B2F6FD686}" type="slidenum">
              <a:rPr lang="en-US" smtClean="0"/>
              <a:t>4</a:t>
            </a:fld>
            <a:endParaRPr lang="en-US" dirty="0"/>
          </a:p>
        </p:txBody>
      </p:sp>
      <p:sp>
        <p:nvSpPr>
          <p:cNvPr id="3" name="Text Placeholder 12">
            <a:extLst>
              <a:ext uri="{FF2B5EF4-FFF2-40B4-BE49-F238E27FC236}">
                <a16:creationId xmlns:a16="http://schemas.microsoft.com/office/drawing/2014/main" id="{304379AB-A10C-C4E6-332A-5CA64FCF726E}"/>
              </a:ext>
            </a:extLst>
          </p:cNvPr>
          <p:cNvSpPr txBox="1">
            <a:spLocks/>
          </p:cNvSpPr>
          <p:nvPr/>
        </p:nvSpPr>
        <p:spPr>
          <a:xfrm>
            <a:off x="437243" y="2823872"/>
            <a:ext cx="6526988" cy="4206656"/>
          </a:xfrm>
          <a:prstGeom prst="rect">
            <a:avLst/>
          </a:prstGeom>
        </p:spPr>
        <p:txBody>
          <a:bodyPr vert="horz" lIns="91440" tIns="45720" rIns="91440" bIns="45720" numCol="1" spcCol="288000" rtlCol="0" anchor="t">
            <a:noAutofit/>
          </a:bodyPr>
          <a:lstStyle>
            <a:lvl1pPr marL="0" indent="0" algn="just" defTabSz="755934" rtl="0" eaLnBrk="1" latinLnBrk="0" hangingPunct="1">
              <a:lnSpc>
                <a:spcPct val="100000"/>
              </a:lnSpc>
              <a:spcBef>
                <a:spcPts val="0"/>
              </a:spcBef>
              <a:buFont typeface="Arial" panose="020B0604020202020204" pitchFamily="34" charset="0"/>
              <a:buNone/>
              <a:defRPr sz="1100" b="0" i="0" kern="1200">
                <a:solidFill>
                  <a:srgbClr val="10153D"/>
                </a:solidFill>
                <a:latin typeface="Calibri" panose="020F0502020204030204" pitchFamily="34" charset="0"/>
                <a:ea typeface="+mn-ea"/>
                <a:cs typeface="Calibri" panose="020F050202020403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28600" indent="-228600">
              <a:buFont typeface="+mj-lt"/>
              <a:buAutoNum type="arabicPeriod" startAt="4"/>
            </a:pPr>
            <a:r>
              <a:rPr lang="en-US" sz="1400" b="1" dirty="0">
                <a:solidFill>
                  <a:schemeClr val="bg1"/>
                </a:solidFill>
              </a:rPr>
              <a:t>Entwerfen Sie Ihre ethische KI</a:t>
            </a:r>
          </a:p>
          <a:p>
            <a:pPr marL="228600" indent="-228600">
              <a:buFont typeface="Arial" panose="020B0604020202020204" pitchFamily="34" charset="0"/>
              <a:buAutoNum type="arabicPeriod" startAt="4"/>
            </a:pPr>
            <a:endParaRPr lang="en-US" b="1" dirty="0">
              <a:solidFill>
                <a:schemeClr val="bg1"/>
              </a:solidFill>
            </a:endParaRPr>
          </a:p>
          <a:p>
            <a:r>
              <a:rPr lang="en-US" dirty="0">
                <a:solidFill>
                  <a:schemeClr val="bg1"/>
                </a:solidFill>
              </a:rPr>
              <a:t>Diese kreative Aktivität ermöglicht es jungen Menschen, den Prozess der Entwicklung eines KI-Systems von Grund auf zu durchdenken und dabei dessen ethische Implikationen zu berücksichtigen. Durch die Teilnahme an dieser praktischen Aktivität erhalten die Teilnehmer ein besseres Verständnis dafür, wie ethische Grundsätze in den Entwicklungsprozess integriert werden können.</a:t>
            </a:r>
          </a:p>
          <a:p>
            <a:endParaRPr lang="en-US" b="1" dirty="0">
              <a:solidFill>
                <a:schemeClr val="bg1"/>
              </a:solidFill>
            </a:endParaRPr>
          </a:p>
          <a:p>
            <a:r>
              <a:rPr lang="en-US" sz="1200" b="1" dirty="0">
                <a:solidFill>
                  <a:schemeClr val="bg1"/>
                </a:solidFill>
              </a:rPr>
              <a:t>Ziel: </a:t>
            </a:r>
            <a:r>
              <a:rPr lang="en-US" dirty="0">
                <a:solidFill>
                  <a:schemeClr val="bg1"/>
                </a:solidFill>
              </a:rPr>
              <a:t>Jugendliche dazu anzuregen, darüber nachzudenken, wie KI-Systeme so gestaltet werden können, dass sie mit ethischen Grundsätzen im Einklang stehen.</a:t>
            </a:r>
          </a:p>
          <a:p>
            <a:endParaRPr lang="en-US" b="1" dirty="0">
              <a:solidFill>
                <a:schemeClr val="bg1"/>
              </a:solidFill>
            </a:endParaRPr>
          </a:p>
          <a:p>
            <a:r>
              <a:rPr lang="en-US" sz="1200" b="1" dirty="0">
                <a:solidFill>
                  <a:schemeClr val="bg1"/>
                </a:solidFill>
              </a:rPr>
              <a:t>Anleitung</a:t>
            </a:r>
            <a:endParaRPr lang="en-US" sz="1200" dirty="0">
              <a:solidFill>
                <a:schemeClr val="bg1"/>
              </a:solidFill>
            </a:endParaRPr>
          </a:p>
          <a:p>
            <a:pPr marL="171450" indent="-171450">
              <a:buFont typeface="Arial" panose="020B0604020202020204" pitchFamily="34" charset="0"/>
              <a:buChar char="•"/>
            </a:pPr>
            <a:r>
              <a:rPr lang="en-US" b="1" dirty="0">
                <a:solidFill>
                  <a:schemeClr val="bg1"/>
                </a:solidFill>
              </a:rPr>
              <a:t>Teambildung: </a:t>
            </a:r>
            <a:r>
              <a:rPr lang="en-US" dirty="0">
                <a:solidFill>
                  <a:schemeClr val="bg1"/>
                </a:solidFill>
              </a:rPr>
              <a:t>Teilen Sie die Teilnehmer in kleine Teams auf und geben Sie jedem Team die Aufgabe, ein KI-System zu entwerfen. Sie können eine bestimmte Anwendung wählen, z. B. eine KI für die Personalbeschaffung, die Gesundheitsdiagnostik oder das Smart-City-Management.</a:t>
            </a:r>
          </a:p>
          <a:p>
            <a:pPr marL="171450" indent="-171450">
              <a:buFont typeface="Arial" panose="020B0604020202020204" pitchFamily="34" charset="0"/>
              <a:buChar char="•"/>
            </a:pPr>
            <a:r>
              <a:rPr lang="en-US" b="1" dirty="0">
                <a:solidFill>
                  <a:schemeClr val="bg1"/>
                </a:solidFill>
              </a:rPr>
              <a:t>Ethisches Design: </a:t>
            </a:r>
            <a:r>
              <a:rPr lang="en-US" dirty="0">
                <a:solidFill>
                  <a:schemeClr val="bg1"/>
                </a:solidFill>
              </a:rPr>
              <a:t>Jedes Team muss ethische Grundsätze berücksichtigen und in sein Design integrieren. Sie sollten Themen wie Fairness, Transparenz, Datenschutz und Inklusivität diskutieren und behandeln.</a:t>
            </a:r>
          </a:p>
          <a:p>
            <a:pPr marL="171450" indent="-171450">
              <a:buFont typeface="Arial" panose="020B0604020202020204" pitchFamily="34" charset="0"/>
              <a:buChar char="•"/>
            </a:pPr>
            <a:r>
              <a:rPr lang="en-US" b="1" dirty="0">
                <a:solidFill>
                  <a:schemeClr val="bg1"/>
                </a:solidFill>
              </a:rPr>
              <a:t>Präsentation: </a:t>
            </a:r>
            <a:r>
              <a:rPr lang="en-US" dirty="0">
                <a:solidFill>
                  <a:schemeClr val="bg1"/>
                </a:solidFill>
              </a:rPr>
              <a:t>Nach der Entwicklung ihres KI-Systems präsentiert jedes Team sein System und erklärt, wie es ethische Grundsätze in das Design integriert hat. Außerdem sollten sie die potenziellen ethischen Herausforderungen diskutieren, denen ihr KI-System begegnen könnte, und wie sie diese angehen würden.</a:t>
            </a:r>
          </a:p>
          <a:p>
            <a:endParaRPr lang="en-US" sz="1200" b="1" dirty="0">
              <a:solidFill>
                <a:schemeClr val="bg1"/>
              </a:solidFill>
            </a:endParaRPr>
          </a:p>
          <a:p>
            <a:r>
              <a:rPr lang="en-US" sz="1200" b="1" dirty="0">
                <a:solidFill>
                  <a:schemeClr val="bg1"/>
                </a:solidFill>
              </a:rPr>
              <a:t>Ergebnis: </a:t>
            </a:r>
            <a:r>
              <a:rPr lang="en-US" dirty="0">
                <a:solidFill>
                  <a:schemeClr val="bg1"/>
                </a:solidFill>
              </a:rPr>
              <a:t>Diese Aktivität fördert Kreativität und ethisches Denken und ermöglicht es jungen Menschen, sich aktiv am Prozess der Entwicklung von KI-Systemen zu beteiligen, bei denen ethische Überlegungen im Vordergrund stehen. Sie hilft ihnen zu verstehen, dass ethisches KI-Design kein nachträglicher Gedanke, sondern ein entscheidender Aspekt des Entwicklungsprozesses ist.</a:t>
            </a:r>
          </a:p>
        </p:txBody>
      </p:sp>
      <p:pic>
        <p:nvPicPr>
          <p:cNvPr id="10" name="Picture 9">
            <a:hlinkClick r:id="rId2"/>
            <a:extLst>
              <a:ext uri="{FF2B5EF4-FFF2-40B4-BE49-F238E27FC236}">
                <a16:creationId xmlns:a16="http://schemas.microsoft.com/office/drawing/2014/main" id="{CFC4CB71-A431-2B31-A0C8-ECCA31FF6556}"/>
              </a:ext>
            </a:extLst>
          </p:cNvPr>
          <p:cNvPicPr>
            <a:picLocks noChangeAspect="1"/>
          </p:cNvPicPr>
          <p:nvPr/>
        </p:nvPicPr>
        <p:blipFill rotWithShape="1">
          <a:blip r:embed="rId3">
            <a:extLst>
              <a:ext uri="{28A0092B-C50C-407E-A947-70E740481C1C}">
                <a14:useLocalDpi xmlns:a14="http://schemas.microsoft.com/office/drawing/2010/main"/>
              </a:ext>
            </a:extLst>
          </a:blip>
          <a:srcRect b="20571"/>
          <a:stretch/>
        </p:blipFill>
        <p:spPr>
          <a:xfrm rot="5400000">
            <a:off x="865030" y="6369014"/>
            <a:ext cx="2988246" cy="4718306"/>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1" name="Rectangle 10">
            <a:hlinkClick r:id="rId2"/>
            <a:extLst>
              <a:ext uri="{FF2B5EF4-FFF2-40B4-BE49-F238E27FC236}">
                <a16:creationId xmlns:a16="http://schemas.microsoft.com/office/drawing/2014/main" id="{CACDE819-E852-E225-BB8B-B0EC12681479}"/>
              </a:ext>
            </a:extLst>
          </p:cNvPr>
          <p:cNvSpPr/>
          <p:nvPr/>
        </p:nvSpPr>
        <p:spPr>
          <a:xfrm>
            <a:off x="-1" y="7563878"/>
            <a:ext cx="3779837" cy="2328578"/>
          </a:xfrm>
          <a:prstGeom prst="rect">
            <a:avLst/>
          </a:prstGeom>
          <a:solidFill>
            <a:srgbClr val="702892"/>
          </a:solidFill>
          <a:ln>
            <a:solidFill>
              <a:srgbClr val="7028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8506D9D3-4475-CD2A-937C-5F3796302434}"/>
              </a:ext>
            </a:extLst>
          </p:cNvPr>
          <p:cNvSpPr txBox="1"/>
          <p:nvPr/>
        </p:nvSpPr>
        <p:spPr>
          <a:xfrm>
            <a:off x="5060863" y="9214448"/>
            <a:ext cx="2096214" cy="461665"/>
          </a:xfrm>
          <a:prstGeom prst="rect">
            <a:avLst/>
          </a:prstGeom>
          <a:noFill/>
        </p:spPr>
        <p:txBody>
          <a:bodyPr wrap="square" rtlCol="0">
            <a:spAutoFit/>
          </a:bodyPr>
          <a:lstStyle/>
          <a:p>
            <a:pPr algn="ctr"/>
            <a:r>
              <a:rPr lang="en-US" sz="1200" b="1" dirty="0"/>
              <a:t>LESEN: </a:t>
            </a:r>
            <a:r>
              <a:rPr lang="en-US" sz="1200" b="1" i="0" dirty="0">
                <a:solidFill>
                  <a:srgbClr val="000000"/>
                </a:solidFill>
                <a:effectLst/>
                <a:latin typeface="aktiv-grotesk"/>
              </a:rPr>
              <a:t>Künstliche Intelligenz – Beispiele für ethische Dilemmata</a:t>
            </a:r>
          </a:p>
        </p:txBody>
      </p:sp>
      <p:pic>
        <p:nvPicPr>
          <p:cNvPr id="16" name="Picture 15" descr="A black background with a black square&#10;&#10;Description automatically generated with medium confidence">
            <a:extLst>
              <a:ext uri="{FF2B5EF4-FFF2-40B4-BE49-F238E27FC236}">
                <a16:creationId xmlns:a16="http://schemas.microsoft.com/office/drawing/2014/main" id="{F9B49980-8D44-BEE4-7299-D2AF6F1EAD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9848660" flipH="1">
            <a:off x="4716298" y="8207699"/>
            <a:ext cx="1349164" cy="1349164"/>
          </a:xfrm>
          <a:prstGeom prst="rect">
            <a:avLst/>
          </a:prstGeom>
        </p:spPr>
      </p:pic>
      <p:pic>
        <p:nvPicPr>
          <p:cNvPr id="17" name="Picture 16">
            <a:hlinkClick r:id="rId2"/>
            <a:extLst>
              <a:ext uri="{FF2B5EF4-FFF2-40B4-BE49-F238E27FC236}">
                <a16:creationId xmlns:a16="http://schemas.microsoft.com/office/drawing/2014/main" id="{E6393B46-B9AC-3DB2-9E55-223EB7BFD935}"/>
              </a:ext>
            </a:extLst>
          </p:cNvPr>
          <p:cNvPicPr>
            <a:picLocks noChangeAspect="1"/>
          </p:cNvPicPr>
          <p:nvPr/>
        </p:nvPicPr>
        <p:blipFill>
          <a:blip r:embed="rId5"/>
          <a:srcRect/>
          <a:stretch/>
        </p:blipFill>
        <p:spPr>
          <a:xfrm>
            <a:off x="903274" y="7801646"/>
            <a:ext cx="1871390" cy="1871390"/>
          </a:xfrm>
          <a:prstGeom prst="rect">
            <a:avLst/>
          </a:prstGeom>
        </p:spPr>
      </p:pic>
    </p:spTree>
    <p:extLst>
      <p:ext uri="{BB962C8B-B14F-4D97-AF65-F5344CB8AC3E}">
        <p14:creationId xmlns:p14="http://schemas.microsoft.com/office/powerpoint/2010/main" val="975703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ED98A-91E4-5E97-472E-2C068569BEB7}"/>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85C8BD57-8B52-5487-3ECB-80C93ACC4275}"/>
              </a:ext>
            </a:extLst>
          </p:cNvPr>
          <p:cNvSpPr>
            <a:spLocks noGrp="1"/>
          </p:cNvSpPr>
          <p:nvPr>
            <p:ph type="body" sz="quarter" idx="30"/>
          </p:nvPr>
        </p:nvSpPr>
        <p:spPr>
          <a:xfrm>
            <a:off x="437243" y="937632"/>
            <a:ext cx="6570888" cy="785535"/>
          </a:xfrm>
        </p:spPr>
        <p:txBody>
          <a:bodyPr/>
          <a:lstStyle/>
          <a:p>
            <a:r>
              <a:rPr lang="en-US" dirty="0" err="1"/>
              <a:t>Jugendliche</a:t>
            </a:r>
            <a:r>
              <a:rPr lang="en-US" dirty="0"/>
              <a:t> </a:t>
            </a:r>
            <a:r>
              <a:rPr lang="en-US" dirty="0" err="1"/>
              <a:t>durch</a:t>
            </a:r>
            <a:r>
              <a:rPr lang="en-US" dirty="0"/>
              <a:t> </a:t>
            </a:r>
            <a:r>
              <a:rPr lang="en-US" dirty="0" err="1"/>
              <a:t>Diskussionen</a:t>
            </a:r>
            <a:r>
              <a:rPr lang="en-US" dirty="0"/>
              <a:t> </a:t>
            </a:r>
            <a:br>
              <a:rPr lang="en-US" dirty="0"/>
            </a:br>
            <a:r>
              <a:rPr lang="en-US" dirty="0" err="1"/>
              <a:t>über</a:t>
            </a:r>
            <a:r>
              <a:rPr lang="en-US" dirty="0"/>
              <a:t> </a:t>
            </a:r>
            <a:r>
              <a:rPr lang="en-US" dirty="0" err="1"/>
              <a:t>ethische</a:t>
            </a:r>
            <a:r>
              <a:rPr lang="en-US" dirty="0"/>
              <a:t> KI </a:t>
            </a:r>
            <a:r>
              <a:rPr lang="en-US" dirty="0" err="1"/>
              <a:t>begleiten</a:t>
            </a:r>
            <a:endParaRPr lang="en-US" dirty="0"/>
          </a:p>
        </p:txBody>
      </p:sp>
      <p:sp>
        <p:nvSpPr>
          <p:cNvPr id="7" name="Slide Number Placeholder 9">
            <a:extLst>
              <a:ext uri="{FF2B5EF4-FFF2-40B4-BE49-F238E27FC236}">
                <a16:creationId xmlns:a16="http://schemas.microsoft.com/office/drawing/2014/main" id="{F424FB1A-AAA2-FB5E-A317-EC86FF8A2D37}"/>
              </a:ext>
            </a:extLst>
          </p:cNvPr>
          <p:cNvSpPr txBox="1">
            <a:spLocks/>
          </p:cNvSpPr>
          <p:nvPr/>
        </p:nvSpPr>
        <p:spPr>
          <a:xfrm>
            <a:off x="6895802" y="10132358"/>
            <a:ext cx="424721" cy="465137"/>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lumMod val="65000"/>
                    <a:lumOff val="35000"/>
                  </a:schemeClr>
                </a:solidFill>
                <a:latin typeface="Calibri" panose="020F0502020204030204" pitchFamily="34" charset="0"/>
                <a:ea typeface="Open Sans" panose="020B060603050402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B2079F2-58AF-ED44-82D7-E04B2F6FD686}" type="slidenum">
              <a:rPr lang="en-US" smtClean="0"/>
              <a:t>5</a:t>
            </a:fld>
            <a:endParaRPr lang="en-US" dirty="0"/>
          </a:p>
        </p:txBody>
      </p:sp>
      <p:sp>
        <p:nvSpPr>
          <p:cNvPr id="9" name="Rectangle 8">
            <a:extLst>
              <a:ext uri="{FF2B5EF4-FFF2-40B4-BE49-F238E27FC236}">
                <a16:creationId xmlns:a16="http://schemas.microsoft.com/office/drawing/2014/main" id="{D6E3D824-5AF0-1807-FBEF-20B8EC3E8261}"/>
              </a:ext>
            </a:extLst>
          </p:cNvPr>
          <p:cNvSpPr/>
          <p:nvPr/>
        </p:nvSpPr>
        <p:spPr>
          <a:xfrm>
            <a:off x="0" y="2317764"/>
            <a:ext cx="7559675" cy="5098188"/>
          </a:xfrm>
          <a:prstGeom prst="rect">
            <a:avLst/>
          </a:prstGeom>
          <a:solidFill>
            <a:srgbClr val="702892"/>
          </a:solidFill>
          <a:ln>
            <a:solidFill>
              <a:srgbClr val="7028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013E5F76-C92C-0F72-B1A0-5DFF783766E5}"/>
              </a:ext>
            </a:extLst>
          </p:cNvPr>
          <p:cNvSpPr/>
          <p:nvPr/>
        </p:nvSpPr>
        <p:spPr>
          <a:xfrm>
            <a:off x="0" y="2317764"/>
            <a:ext cx="7559675" cy="5098188"/>
          </a:xfrm>
          <a:prstGeom prst="rect">
            <a:avLst/>
          </a:prstGeom>
          <a:solidFill>
            <a:srgbClr val="E8068C"/>
          </a:solidFill>
          <a:ln>
            <a:solidFill>
              <a:srgbClr val="E8068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12">
            <a:extLst>
              <a:ext uri="{FF2B5EF4-FFF2-40B4-BE49-F238E27FC236}">
                <a16:creationId xmlns:a16="http://schemas.microsoft.com/office/drawing/2014/main" id="{A0491036-CF7B-96AA-7ABB-F09F9E2A84E7}"/>
              </a:ext>
            </a:extLst>
          </p:cNvPr>
          <p:cNvSpPr txBox="1">
            <a:spLocks/>
          </p:cNvSpPr>
          <p:nvPr/>
        </p:nvSpPr>
        <p:spPr>
          <a:xfrm>
            <a:off x="459193" y="2703458"/>
            <a:ext cx="6526988" cy="4206656"/>
          </a:xfrm>
          <a:prstGeom prst="rect">
            <a:avLst/>
          </a:prstGeom>
        </p:spPr>
        <p:txBody>
          <a:bodyPr vert="horz" lIns="91440" tIns="45720" rIns="91440" bIns="45720" numCol="1" spcCol="288000" rtlCol="0" anchor="t">
            <a:noAutofit/>
          </a:bodyPr>
          <a:lstStyle>
            <a:lvl1pPr marL="0" indent="0" algn="just" defTabSz="755934" rtl="0" eaLnBrk="1" latinLnBrk="0" hangingPunct="1">
              <a:lnSpc>
                <a:spcPct val="100000"/>
              </a:lnSpc>
              <a:spcBef>
                <a:spcPts val="0"/>
              </a:spcBef>
              <a:buFont typeface="Arial" panose="020B0604020202020204" pitchFamily="34" charset="0"/>
              <a:buNone/>
              <a:defRPr sz="1100" b="0" i="0" kern="1200">
                <a:solidFill>
                  <a:srgbClr val="10153D"/>
                </a:solidFill>
                <a:latin typeface="Calibri" panose="020F0502020204030204" pitchFamily="34" charset="0"/>
                <a:ea typeface="+mn-ea"/>
                <a:cs typeface="Calibri" panose="020F050202020403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Calibri" panose="020F0502020204030204" pitchFamily="34" charset="0"/>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342900" indent="-342900">
              <a:buFont typeface="+mj-lt"/>
              <a:buAutoNum type="arabicPeriod" startAt="5"/>
            </a:pPr>
            <a:r>
              <a:rPr lang="en-US" sz="1400" b="1" dirty="0">
                <a:solidFill>
                  <a:schemeClr val="bg1"/>
                </a:solidFill>
              </a:rPr>
              <a:t>KI-Ethik-Quiz</a:t>
            </a:r>
          </a:p>
          <a:p>
            <a:endParaRPr lang="en-US" sz="1400" b="1" dirty="0">
              <a:solidFill>
                <a:schemeClr val="bg1"/>
              </a:solidFill>
            </a:endParaRPr>
          </a:p>
          <a:p>
            <a:r>
              <a:rPr lang="en-US" dirty="0">
                <a:solidFill>
                  <a:schemeClr val="bg1"/>
                </a:solidFill>
              </a:rPr>
              <a:t>Eine unterhaltsame und interaktive Möglichkeit, das Wissen junger Menschen über KI-Ethik zu testen und zu festigen, ist ein Quiz. Dies kann als Einzel- oder Teamaktivität durchgeführt werden und regt junge Menschen dazu an, auf spielerische, aber lehrreiche Weise über wichtige Konzepte nachzudenken.</a:t>
            </a:r>
          </a:p>
          <a:p>
            <a:endParaRPr lang="en-US" dirty="0">
              <a:solidFill>
                <a:schemeClr val="bg1"/>
              </a:solidFill>
            </a:endParaRPr>
          </a:p>
          <a:p>
            <a:r>
              <a:rPr lang="en-US" sz="1200" b="1" dirty="0">
                <a:solidFill>
                  <a:schemeClr val="bg1"/>
                </a:solidFill>
              </a:rPr>
              <a:t>Ziel: </a:t>
            </a:r>
            <a:r>
              <a:rPr lang="en-US" dirty="0">
                <a:solidFill>
                  <a:schemeClr val="bg1"/>
                </a:solidFill>
              </a:rPr>
              <a:t>Das Verständnis junger Menschen für KI-Ethik auf unterhaltsame und ansprechende Weise zu beurteilen.</a:t>
            </a:r>
          </a:p>
          <a:p>
            <a:endParaRPr lang="en-US" dirty="0">
              <a:solidFill>
                <a:schemeClr val="bg1"/>
              </a:solidFill>
            </a:endParaRPr>
          </a:p>
          <a:p>
            <a:r>
              <a:rPr lang="en-US" sz="1200" b="1" dirty="0">
                <a:solidFill>
                  <a:schemeClr val="bg1"/>
                </a:solidFill>
              </a:rPr>
              <a:t>Anleitung</a:t>
            </a:r>
          </a:p>
          <a:p>
            <a:pPr marL="171450" indent="-171450">
              <a:buFont typeface="Arial" panose="020B0604020202020204" pitchFamily="34" charset="0"/>
              <a:buChar char="•"/>
            </a:pPr>
            <a:r>
              <a:rPr lang="en-US" b="1" dirty="0">
                <a:solidFill>
                  <a:schemeClr val="bg1"/>
                </a:solidFill>
              </a:rPr>
              <a:t>Fragen vorbereiten: </a:t>
            </a:r>
            <a:r>
              <a:rPr lang="en-US" dirty="0">
                <a:solidFill>
                  <a:schemeClr val="bg1"/>
                </a:solidFill>
              </a:rPr>
              <a:t>Erstellen Sie eine Reihe von Multiple-Choice- oder Kurzantwortfragen, die auf den Inhalten der Diskussionen und Aktivitäten basieren. Die Fragen könnten folgende Themen behandeln:</a:t>
            </a:r>
            <a:endParaRPr lang="en-US" sz="1100" dirty="0">
              <a:solidFill>
                <a:schemeClr val="bg1"/>
              </a:solidFill>
              <a:latin typeface="+mn-lt"/>
            </a:endParaRPr>
          </a:p>
          <a:p>
            <a:pPr marL="549417" lvl="1" indent="-171450">
              <a:buFont typeface="Arial" panose="020B0604020202020204" pitchFamily="34" charset="0"/>
              <a:buChar char="•"/>
            </a:pPr>
            <a:r>
              <a:rPr lang="en-US" sz="1100" dirty="0">
                <a:solidFill>
                  <a:schemeClr val="bg1"/>
                </a:solidFill>
                <a:latin typeface="+mn-lt"/>
              </a:rPr>
              <a:t>Was ist algorithmische Voreingenommenheit?</a:t>
            </a:r>
          </a:p>
          <a:p>
            <a:pPr marL="549417" lvl="1" indent="-171450">
              <a:buFont typeface="Arial" panose="020B0604020202020204" pitchFamily="34" charset="0"/>
              <a:buChar char="•"/>
            </a:pPr>
            <a:r>
              <a:rPr lang="en-US" sz="1100" dirty="0">
                <a:solidFill>
                  <a:schemeClr val="bg1"/>
                </a:solidFill>
                <a:latin typeface="+mn-lt"/>
              </a:rPr>
              <a:t>Warum ist Transparenz in KI-Systemen wichtig?</a:t>
            </a:r>
          </a:p>
          <a:p>
            <a:pPr marL="549417" lvl="1" indent="-171450">
              <a:buFont typeface="Arial" panose="020B0604020202020204" pitchFamily="34" charset="0"/>
              <a:buChar char="•"/>
            </a:pPr>
            <a:r>
              <a:rPr lang="en-US" sz="1100" dirty="0">
                <a:solidFill>
                  <a:schemeClr val="bg1"/>
                </a:solidFill>
                <a:latin typeface="+mn-lt"/>
              </a:rPr>
              <a:t>Welche potenziellen Risiken birgt KI bei der Entscheidungsfindung?</a:t>
            </a:r>
          </a:p>
          <a:p>
            <a:pPr marL="549417" lvl="1" indent="-171450">
              <a:buFont typeface="Arial" panose="020B0604020202020204" pitchFamily="34" charset="0"/>
              <a:buChar char="•"/>
            </a:pPr>
            <a:r>
              <a:rPr lang="en-US" sz="1100" dirty="0">
                <a:solidFill>
                  <a:schemeClr val="bg1"/>
                </a:solidFill>
                <a:latin typeface="+mn-lt"/>
              </a:rPr>
              <a:t>Wer ist verantwortlich, wenn KI-Systeme Schaden anrichten?</a:t>
            </a:r>
          </a:p>
          <a:p>
            <a:pPr marL="171450" indent="-171450">
              <a:buFont typeface="Arial" panose="020B0604020202020204" pitchFamily="34" charset="0"/>
              <a:buChar char="•"/>
            </a:pPr>
            <a:r>
              <a:rPr lang="en-US" b="1" dirty="0">
                <a:solidFill>
                  <a:schemeClr val="bg1"/>
                </a:solidFill>
                <a:latin typeface="+mn-lt"/>
              </a:rPr>
              <a:t>Führen Sie das Quiz durch: </a:t>
            </a:r>
            <a:r>
              <a:rPr lang="en-US" dirty="0">
                <a:solidFill>
                  <a:schemeClr val="bg1"/>
                </a:solidFill>
                <a:latin typeface="+mn-lt"/>
              </a:rPr>
              <a:t>Stellen Sie die Fragen laut oder zeigen Sie sie auf einem Bildschirm. Die Teilnehmer können einzeln oder in Teams antworten, und die richtigen Antworten sollten nach jeder Frage erklärt werden.</a:t>
            </a:r>
          </a:p>
          <a:p>
            <a:pPr marL="171450" indent="-171450">
              <a:buFont typeface="Arial" panose="020B0604020202020204" pitchFamily="34" charset="0"/>
              <a:buChar char="•"/>
            </a:pPr>
            <a:endParaRPr lang="en-US" dirty="0">
              <a:solidFill>
                <a:schemeClr val="bg1"/>
              </a:solidFill>
              <a:latin typeface="+mn-lt"/>
            </a:endParaRPr>
          </a:p>
          <a:p>
            <a:r>
              <a:rPr lang="en-US" sz="1200" b="1" dirty="0">
                <a:solidFill>
                  <a:schemeClr val="bg1"/>
                </a:solidFill>
                <a:latin typeface="+mn-lt"/>
              </a:rPr>
              <a:t>Ergebnis: </a:t>
            </a:r>
            <a:r>
              <a:rPr lang="en-US" dirty="0">
                <a:solidFill>
                  <a:schemeClr val="bg1"/>
                </a:solidFill>
                <a:latin typeface="+mn-lt"/>
              </a:rPr>
              <a:t>Dieses Quiz hilft, den Lernprozess zu vertiefen, und bietet Jugendlichen die Möglichkeit, ihr Wissen zu testen. Es ist eine unterhaltsame Methode, um zum Nachdenken anzuregen und das Verständnis für wichtige ethische KI-Konzepte zu festigen.</a:t>
            </a:r>
          </a:p>
        </p:txBody>
      </p:sp>
      <p:pic>
        <p:nvPicPr>
          <p:cNvPr id="10" name="Picture 9">
            <a:hlinkClick r:id="rId2"/>
            <a:extLst>
              <a:ext uri="{FF2B5EF4-FFF2-40B4-BE49-F238E27FC236}">
                <a16:creationId xmlns:a16="http://schemas.microsoft.com/office/drawing/2014/main" id="{11DE1293-913F-C67C-CE3E-687D2FA04EC1}"/>
              </a:ext>
            </a:extLst>
          </p:cNvPr>
          <p:cNvPicPr>
            <a:picLocks noChangeAspect="1"/>
          </p:cNvPicPr>
          <p:nvPr/>
        </p:nvPicPr>
        <p:blipFill rotWithShape="1">
          <a:blip r:embed="rId3">
            <a:extLst>
              <a:ext uri="{28A0092B-C50C-407E-A947-70E740481C1C}">
                <a14:useLocalDpi xmlns:a14="http://schemas.microsoft.com/office/drawing/2010/main"/>
              </a:ext>
            </a:extLst>
          </a:blip>
          <a:srcRect b="20571"/>
          <a:stretch/>
        </p:blipFill>
        <p:spPr>
          <a:xfrm rot="16200000" flipH="1">
            <a:off x="3706399" y="6369014"/>
            <a:ext cx="2988246" cy="4718306"/>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1" name="Rectangle 10">
            <a:hlinkClick r:id="rId2"/>
            <a:extLst>
              <a:ext uri="{FF2B5EF4-FFF2-40B4-BE49-F238E27FC236}">
                <a16:creationId xmlns:a16="http://schemas.microsoft.com/office/drawing/2014/main" id="{9754414E-BEBE-8ACF-FE77-A8DBB9946A63}"/>
              </a:ext>
            </a:extLst>
          </p:cNvPr>
          <p:cNvSpPr/>
          <p:nvPr/>
        </p:nvSpPr>
        <p:spPr>
          <a:xfrm>
            <a:off x="3779836" y="7573052"/>
            <a:ext cx="3779837" cy="2328578"/>
          </a:xfrm>
          <a:prstGeom prst="rect">
            <a:avLst/>
          </a:prstGeom>
          <a:solidFill>
            <a:srgbClr val="E8068C"/>
          </a:solidFill>
          <a:ln>
            <a:solidFill>
              <a:srgbClr val="E8068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a:extLst>
              <a:ext uri="{FF2B5EF4-FFF2-40B4-BE49-F238E27FC236}">
                <a16:creationId xmlns:a16="http://schemas.microsoft.com/office/drawing/2014/main" id="{CA40D9C1-AB0C-01AE-98DE-EA2CA79DA96D}"/>
              </a:ext>
            </a:extLst>
          </p:cNvPr>
          <p:cNvSpPr txBox="1"/>
          <p:nvPr/>
        </p:nvSpPr>
        <p:spPr>
          <a:xfrm>
            <a:off x="459192" y="9211371"/>
            <a:ext cx="2096214" cy="461665"/>
          </a:xfrm>
          <a:prstGeom prst="rect">
            <a:avLst/>
          </a:prstGeom>
          <a:noFill/>
        </p:spPr>
        <p:txBody>
          <a:bodyPr wrap="square" rtlCol="0">
            <a:spAutoFit/>
          </a:bodyPr>
          <a:lstStyle/>
          <a:p>
            <a:pPr algn="ctr"/>
            <a:r>
              <a:rPr lang="en-US" sz="1200" b="1" dirty="0"/>
              <a:t>LESEN: </a:t>
            </a:r>
            <a:r>
              <a:rPr lang="en-US" sz="1200" b="1" i="0" dirty="0">
                <a:solidFill>
                  <a:srgbClr val="000000"/>
                </a:solidFill>
                <a:effectLst/>
                <a:latin typeface="aktiv-grotesk"/>
              </a:rPr>
              <a:t>Interaktives KI-Ethik-Quiz</a:t>
            </a:r>
          </a:p>
        </p:txBody>
      </p:sp>
      <p:pic>
        <p:nvPicPr>
          <p:cNvPr id="16" name="Picture 15" descr="A black background with a black square&#10;&#10;Description automatically generated with medium confidence">
            <a:extLst>
              <a:ext uri="{FF2B5EF4-FFF2-40B4-BE49-F238E27FC236}">
                <a16:creationId xmlns:a16="http://schemas.microsoft.com/office/drawing/2014/main" id="{C364C4EF-4AD6-2A2D-B7F2-8052E7C33F4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751340">
            <a:off x="1449125" y="8204622"/>
            <a:ext cx="1349164" cy="1349164"/>
          </a:xfrm>
          <a:prstGeom prst="rect">
            <a:avLst/>
          </a:prstGeom>
        </p:spPr>
      </p:pic>
      <p:pic>
        <p:nvPicPr>
          <p:cNvPr id="17" name="Picture 16">
            <a:hlinkClick r:id="rId2"/>
            <a:extLst>
              <a:ext uri="{FF2B5EF4-FFF2-40B4-BE49-F238E27FC236}">
                <a16:creationId xmlns:a16="http://schemas.microsoft.com/office/drawing/2014/main" id="{27AEB596-A69C-2413-8BE0-CFBCD40CA689}"/>
              </a:ext>
            </a:extLst>
          </p:cNvPr>
          <p:cNvPicPr>
            <a:picLocks noChangeAspect="1"/>
          </p:cNvPicPr>
          <p:nvPr/>
        </p:nvPicPr>
        <p:blipFill>
          <a:blip r:embed="rId5"/>
          <a:srcRect/>
          <a:stretch/>
        </p:blipFill>
        <p:spPr>
          <a:xfrm>
            <a:off x="4734059" y="7801646"/>
            <a:ext cx="1871390" cy="1871390"/>
          </a:xfrm>
          <a:prstGeom prst="rect">
            <a:avLst/>
          </a:prstGeom>
        </p:spPr>
      </p:pic>
    </p:spTree>
    <p:extLst>
      <p:ext uri="{BB962C8B-B14F-4D97-AF65-F5344CB8AC3E}">
        <p14:creationId xmlns:p14="http://schemas.microsoft.com/office/powerpoint/2010/main" val="2818440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105B6-AD45-CB37-332E-E3C76E931891}"/>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3BF268A1-916B-2111-3469-A344B9BC35EB}"/>
              </a:ext>
            </a:extLst>
          </p:cNvPr>
          <p:cNvSpPr/>
          <p:nvPr/>
        </p:nvSpPr>
        <p:spPr>
          <a:xfrm>
            <a:off x="-13709" y="9114337"/>
            <a:ext cx="7559675" cy="963038"/>
          </a:xfrm>
          <a:prstGeom prst="rect">
            <a:avLst/>
          </a:prstGeom>
          <a:solidFill>
            <a:srgbClr val="23B9BE"/>
          </a:solidFill>
          <a:ln>
            <a:solidFill>
              <a:srgbClr val="23B9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787A894-94BB-A82C-6521-0290D38D7E80}"/>
              </a:ext>
            </a:extLst>
          </p:cNvPr>
          <p:cNvSpPr/>
          <p:nvPr/>
        </p:nvSpPr>
        <p:spPr>
          <a:xfrm>
            <a:off x="-13707" y="7859949"/>
            <a:ext cx="7559675" cy="1254388"/>
          </a:xfrm>
          <a:prstGeom prst="rect">
            <a:avLst/>
          </a:prstGeom>
          <a:solidFill>
            <a:srgbClr val="299AB4"/>
          </a:solidFill>
          <a:ln>
            <a:solidFill>
              <a:srgbClr val="299AB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C326D266-35E5-3DD6-E7A8-D8409F7D933B}"/>
              </a:ext>
            </a:extLst>
          </p:cNvPr>
          <p:cNvSpPr/>
          <p:nvPr/>
        </p:nvSpPr>
        <p:spPr>
          <a:xfrm>
            <a:off x="-13708" y="6770451"/>
            <a:ext cx="7559675" cy="1089498"/>
          </a:xfrm>
          <a:prstGeom prst="rect">
            <a:avLst/>
          </a:prstGeom>
          <a:solidFill>
            <a:srgbClr val="23B9BE"/>
          </a:solidFill>
          <a:ln>
            <a:solidFill>
              <a:srgbClr val="23B9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5A511709-FB71-CB5A-E77E-75964182F14D}"/>
              </a:ext>
            </a:extLst>
          </p:cNvPr>
          <p:cNvSpPr/>
          <p:nvPr/>
        </p:nvSpPr>
        <p:spPr>
          <a:xfrm>
            <a:off x="-13707" y="5680953"/>
            <a:ext cx="7559675" cy="1089498"/>
          </a:xfrm>
          <a:prstGeom prst="rect">
            <a:avLst/>
          </a:prstGeom>
          <a:solidFill>
            <a:srgbClr val="299AB4"/>
          </a:solidFill>
          <a:ln>
            <a:solidFill>
              <a:srgbClr val="299AB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EEB9F73-3622-DF28-BB03-5E512F72ED7A}"/>
              </a:ext>
            </a:extLst>
          </p:cNvPr>
          <p:cNvSpPr/>
          <p:nvPr/>
        </p:nvSpPr>
        <p:spPr>
          <a:xfrm>
            <a:off x="-13707" y="4263065"/>
            <a:ext cx="7559675" cy="1417888"/>
          </a:xfrm>
          <a:prstGeom prst="rect">
            <a:avLst/>
          </a:prstGeom>
          <a:solidFill>
            <a:srgbClr val="23B9BE"/>
          </a:solidFill>
          <a:ln>
            <a:solidFill>
              <a:srgbClr val="23B9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533304C4-2D1C-DB70-6268-842B8EABFCC9}"/>
              </a:ext>
            </a:extLst>
          </p:cNvPr>
          <p:cNvSpPr/>
          <p:nvPr/>
        </p:nvSpPr>
        <p:spPr>
          <a:xfrm>
            <a:off x="0" y="2966936"/>
            <a:ext cx="7559675" cy="1293914"/>
          </a:xfrm>
          <a:prstGeom prst="rect">
            <a:avLst/>
          </a:prstGeom>
          <a:solidFill>
            <a:srgbClr val="299AB4"/>
          </a:solidFill>
          <a:ln>
            <a:solidFill>
              <a:srgbClr val="299AB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2">
            <a:extLst>
              <a:ext uri="{FF2B5EF4-FFF2-40B4-BE49-F238E27FC236}">
                <a16:creationId xmlns:a16="http://schemas.microsoft.com/office/drawing/2014/main" id="{38AB9E5D-00D8-56BA-A48D-78260EF5B8DD}"/>
              </a:ext>
            </a:extLst>
          </p:cNvPr>
          <p:cNvSpPr>
            <a:spLocks noGrp="1"/>
          </p:cNvSpPr>
          <p:nvPr>
            <p:ph type="body" sz="quarter" idx="32"/>
          </p:nvPr>
        </p:nvSpPr>
        <p:spPr>
          <a:xfrm>
            <a:off x="530225" y="2959874"/>
            <a:ext cx="6832992" cy="7082544"/>
          </a:xfrm>
        </p:spPr>
        <p:txBody>
          <a:bodyPr numCol="1"/>
          <a:lstStyle/>
          <a:p>
            <a:pPr>
              <a:buNone/>
            </a:pPr>
            <a:r>
              <a:rPr lang="en-US" sz="1600" b="1" dirty="0">
                <a:solidFill>
                  <a:schemeClr val="bg1"/>
                </a:solidFill>
              </a:rPr>
              <a:t>Bereiten Sie den Boden vor</a:t>
            </a:r>
          </a:p>
          <a:p>
            <a:pPr marL="355600" indent="-171450">
              <a:buFont typeface="Wingdings" panose="05000000000000000000" pitchFamily="2" charset="2"/>
              <a:buChar char="q"/>
            </a:pPr>
            <a:r>
              <a:rPr lang="en-US" dirty="0" err="1">
                <a:solidFill>
                  <a:schemeClr val="bg1"/>
                </a:solidFill>
              </a:rPr>
              <a:t>Machen </a:t>
            </a:r>
            <a:r>
              <a:rPr lang="en-US" dirty="0">
                <a:solidFill>
                  <a:schemeClr val="bg1"/>
                </a:solidFill>
              </a:rPr>
              <a:t>Sie sich mit den wichtigsten ethischen Grundsätzen </a:t>
            </a:r>
            <a:r>
              <a:rPr lang="en-US" dirty="0" err="1">
                <a:solidFill>
                  <a:schemeClr val="bg1"/>
                </a:solidFill>
              </a:rPr>
              <a:t>vertraut </a:t>
            </a:r>
            <a:r>
              <a:rPr lang="en-US" dirty="0">
                <a:solidFill>
                  <a:schemeClr val="bg1"/>
                </a:solidFill>
              </a:rPr>
              <a:t>(z. B. Transparenz, Fairness, Rechenschaftspflicht, Datenschutz).</a:t>
            </a:r>
          </a:p>
          <a:p>
            <a:pPr marL="355600" indent="-171450">
              <a:buFont typeface="Wingdings" panose="05000000000000000000" pitchFamily="2" charset="2"/>
              <a:buChar char="q"/>
            </a:pPr>
            <a:r>
              <a:rPr lang="en-US" dirty="0">
                <a:solidFill>
                  <a:schemeClr val="bg1"/>
                </a:solidFill>
              </a:rPr>
              <a:t>Überprüfen Sie relevante Rahmenwerke (EU-KI-Gesetz, DSGVO, UNESCO-Ethik der KI).</a:t>
            </a:r>
          </a:p>
          <a:p>
            <a:pPr marL="355600" indent="-171450">
              <a:buFont typeface="Wingdings" panose="05000000000000000000" pitchFamily="2" charset="2"/>
              <a:buChar char="q"/>
            </a:pPr>
            <a:r>
              <a:rPr lang="en-US" dirty="0">
                <a:solidFill>
                  <a:schemeClr val="bg1"/>
                </a:solidFill>
              </a:rPr>
              <a:t>Bewerten Sie die digitale Kompetenz Ihrer Gruppe und deren Vorkenntnisse im Bereich KI.</a:t>
            </a:r>
          </a:p>
          <a:p>
            <a:pPr marL="355600" indent="-171450">
              <a:buFont typeface="Wingdings" panose="05000000000000000000" pitchFamily="2" charset="2"/>
              <a:buChar char="q"/>
            </a:pPr>
            <a:r>
              <a:rPr lang="en-US" dirty="0">
                <a:solidFill>
                  <a:schemeClr val="bg1"/>
                </a:solidFill>
              </a:rPr>
              <a:t>Wählen Sie Fallstudien aus, die altersgerecht und kulturell relevant sind.</a:t>
            </a:r>
          </a:p>
          <a:p>
            <a:endParaRPr lang="en-US" dirty="0">
              <a:solidFill>
                <a:schemeClr val="bg1"/>
              </a:solidFill>
            </a:endParaRPr>
          </a:p>
          <a:p>
            <a:pPr>
              <a:buNone/>
            </a:pPr>
            <a:r>
              <a:rPr lang="en-US" sz="1600" b="1" dirty="0">
                <a:solidFill>
                  <a:schemeClr val="bg1"/>
                </a:solidFill>
              </a:rPr>
              <a:t>Gestalten Sie eine inklusive und ansprechende Sitzung</a:t>
            </a:r>
          </a:p>
          <a:p>
            <a:pPr marL="355600" indent="-171450">
              <a:buFont typeface="Wingdings" panose="05000000000000000000" pitchFamily="2" charset="2"/>
              <a:buChar char="q"/>
            </a:pPr>
            <a:r>
              <a:rPr lang="en-US" dirty="0">
                <a:solidFill>
                  <a:schemeClr val="bg1"/>
                </a:solidFill>
              </a:rPr>
              <a:t>Verwenden Sie Beispiele aus dem realen Leben (z. B. voreingenommene Rekrutierungstools, Gesichtserkennung, Halluzinationen in Chatbots).</a:t>
            </a:r>
          </a:p>
          <a:p>
            <a:pPr marL="355600" indent="-171450">
              <a:buFont typeface="Wingdings" panose="05000000000000000000" pitchFamily="2" charset="2"/>
              <a:buChar char="q"/>
            </a:pPr>
            <a:r>
              <a:rPr lang="en-US" dirty="0">
                <a:solidFill>
                  <a:schemeClr val="bg1"/>
                </a:solidFill>
              </a:rPr>
              <a:t>Bringen Sie technische Konzepte und Diskussionen über soziale Auswirkungen in Einklang.</a:t>
            </a:r>
          </a:p>
          <a:p>
            <a:pPr marL="355600" indent="-171450">
              <a:buFont typeface="Wingdings" panose="05000000000000000000" pitchFamily="2" charset="2"/>
              <a:buChar char="q"/>
            </a:pPr>
            <a:r>
              <a:rPr lang="en-US" dirty="0">
                <a:solidFill>
                  <a:schemeClr val="bg1"/>
                </a:solidFill>
              </a:rPr>
              <a:t>Fördern Sie kritisches Denken durch Fragen wie:</a:t>
            </a:r>
          </a:p>
          <a:p>
            <a:pPr marL="623888" indent="-171450"/>
            <a:r>
              <a:rPr lang="en-US" i="1" dirty="0">
                <a:solidFill>
                  <a:schemeClr val="bg1"/>
                </a:solidFill>
              </a:rPr>
              <a:t>„Sollte KI entscheiden, wer einen Job bekommt?“ </a:t>
            </a:r>
          </a:p>
          <a:p>
            <a:pPr marL="623888" indent="-171450"/>
            <a:r>
              <a:rPr lang="en-US" i="1" dirty="0">
                <a:solidFill>
                  <a:schemeClr val="bg1"/>
                </a:solidFill>
              </a:rPr>
              <a:t>„Ist es ethisch vertretbar, KI im Bildungswesen oder bei der Polizeiarbeit einzusetzen?“</a:t>
            </a:r>
            <a:endParaRPr lang="en-US" dirty="0">
              <a:solidFill>
                <a:schemeClr val="bg1"/>
              </a:solidFill>
            </a:endParaRPr>
          </a:p>
          <a:p>
            <a:pPr marL="355600" indent="-171450">
              <a:buFont typeface="Wingdings" panose="05000000000000000000" pitchFamily="2" charset="2"/>
              <a:buChar char="q"/>
            </a:pPr>
            <a:r>
              <a:rPr lang="en-US" dirty="0">
                <a:solidFill>
                  <a:schemeClr val="bg1"/>
                </a:solidFill>
              </a:rPr>
              <a:t>Beziehen Sie unterschiedliche Standpunkte ein und fördern Sie einen offenen Dialog.</a:t>
            </a:r>
          </a:p>
          <a:p>
            <a:pPr>
              <a:buNone/>
            </a:pPr>
            <a:r>
              <a:rPr lang="en-US" sz="1600" b="1" dirty="0" err="1">
                <a:solidFill>
                  <a:schemeClr val="bg1"/>
                </a:solidFill>
              </a:rPr>
              <a:t>Verwenden</a:t>
            </a:r>
            <a:r>
              <a:rPr lang="en-US" sz="1600" b="1" dirty="0">
                <a:solidFill>
                  <a:schemeClr val="bg1"/>
                </a:solidFill>
              </a:rPr>
              <a:t> Sie interaktive Lernmethoden</a:t>
            </a:r>
          </a:p>
          <a:p>
            <a:pPr marL="355600" indent="-171450">
              <a:buFont typeface="Wingdings" panose="05000000000000000000" pitchFamily="2" charset="2"/>
              <a:buChar char="q"/>
            </a:pPr>
            <a:r>
              <a:rPr lang="en-US" dirty="0">
                <a:solidFill>
                  <a:schemeClr val="bg1"/>
                </a:solidFill>
              </a:rPr>
              <a:t>Integrieren Sie Multimedia-Inhalte (Videos, Infografiken, Simulationen).</a:t>
            </a:r>
          </a:p>
          <a:p>
            <a:pPr marL="355600" indent="-171450">
              <a:buFont typeface="Wingdings" panose="05000000000000000000" pitchFamily="2" charset="2"/>
              <a:buChar char="q"/>
            </a:pPr>
            <a:r>
              <a:rPr lang="en-US" dirty="0">
                <a:solidFill>
                  <a:schemeClr val="bg1"/>
                </a:solidFill>
              </a:rPr>
              <a:t>Verwenden Sie interaktive Tools (z. B. AI Fairness 360-Demos, Googles What-If-Tool).</a:t>
            </a:r>
          </a:p>
          <a:p>
            <a:pPr marL="355600" indent="-171450">
              <a:buFont typeface="Wingdings" panose="05000000000000000000" pitchFamily="2" charset="2"/>
              <a:buChar char="q"/>
            </a:pPr>
            <a:r>
              <a:rPr lang="en-US" dirty="0">
                <a:solidFill>
                  <a:schemeClr val="bg1"/>
                </a:solidFill>
              </a:rPr>
              <a:t>Führen Sie ethische Dilemmata oder Rollenspiel-Debatten durch („Sie sind Entwickler ... was tun Sie?“).</a:t>
            </a:r>
          </a:p>
          <a:p>
            <a:pPr marL="355600" indent="-171450">
              <a:buFont typeface="Wingdings" panose="05000000000000000000" pitchFamily="2" charset="2"/>
              <a:buChar char="q"/>
            </a:pPr>
            <a:r>
              <a:rPr lang="en-US" dirty="0">
                <a:solidFill>
                  <a:schemeClr val="bg1"/>
                </a:solidFill>
              </a:rPr>
              <a:t>Verwenden Sie kurze Quizfragen oder Umfragen, um zum Nachdenken anzuregen und das Engagement zu fördern.</a:t>
            </a:r>
          </a:p>
          <a:p>
            <a:pPr>
              <a:buNone/>
            </a:pPr>
            <a:r>
              <a:rPr lang="en-US" sz="1600" b="1" dirty="0" err="1">
                <a:solidFill>
                  <a:schemeClr val="bg1"/>
                </a:solidFill>
              </a:rPr>
              <a:t>Konzentrieren</a:t>
            </a:r>
            <a:r>
              <a:rPr lang="en-US" sz="1600" b="1" dirty="0">
                <a:solidFill>
                  <a:schemeClr val="bg1"/>
                </a:solidFill>
              </a:rPr>
              <a:t> Sie sich auf Werte und Verantwortung</a:t>
            </a:r>
          </a:p>
          <a:p>
            <a:pPr marL="355600" indent="-171450">
              <a:buFont typeface="Wingdings" panose="05000000000000000000" pitchFamily="2" charset="2"/>
              <a:buChar char="q"/>
            </a:pPr>
            <a:r>
              <a:rPr lang="en-US" dirty="0">
                <a:solidFill>
                  <a:schemeClr val="bg1"/>
                </a:solidFill>
              </a:rPr>
              <a:t>Verbinden Sie den Unterricht mit den Themen digitale Bürgerschaft, Gleichberechtigung und Nachhaltigkeit.</a:t>
            </a:r>
          </a:p>
          <a:p>
            <a:pPr marL="355600" indent="-171450">
              <a:buFont typeface="Wingdings" panose="05000000000000000000" pitchFamily="2" charset="2"/>
              <a:buChar char="q"/>
            </a:pPr>
            <a:r>
              <a:rPr lang="en-US" dirty="0">
                <a:solidFill>
                  <a:schemeClr val="bg1"/>
                </a:solidFill>
              </a:rPr>
              <a:t>Diskutieren Sie die menschlichen Entscheidungen hinter der KI – Datenauswahl, Designentscheidungen, beabsichtigte Ergebnisse.</a:t>
            </a:r>
          </a:p>
          <a:p>
            <a:pPr marL="355600" indent="-171450">
              <a:buFont typeface="Wingdings" panose="05000000000000000000" pitchFamily="2" charset="2"/>
              <a:buChar char="q"/>
            </a:pPr>
            <a:r>
              <a:rPr lang="en-US" dirty="0" err="1">
                <a:solidFill>
                  <a:schemeClr val="bg1"/>
                </a:solidFill>
              </a:rPr>
              <a:t>Betonen Sie</a:t>
            </a:r>
            <a:r>
              <a:rPr lang="en-US" dirty="0">
                <a:solidFill>
                  <a:schemeClr val="bg1"/>
                </a:solidFill>
              </a:rPr>
              <a:t>, dass „nur weil wir etwas tun können, heißt das nicht, dass wir es auch tun sollten“.</a:t>
            </a:r>
          </a:p>
          <a:p>
            <a:pPr marL="355600" indent="-171450">
              <a:buFont typeface="Wingdings" panose="05000000000000000000" pitchFamily="2" charset="2"/>
              <a:buChar char="q"/>
            </a:pPr>
            <a:r>
              <a:rPr lang="en-US" dirty="0">
                <a:solidFill>
                  <a:schemeClr val="bg1"/>
                </a:solidFill>
              </a:rPr>
              <a:t>Heben Sie die Bedeutung vielfältiger, inklusiver Tech-Teams hervor, um Vorurteile abzubauen.</a:t>
            </a:r>
          </a:p>
          <a:p>
            <a:pPr>
              <a:buNone/>
            </a:pPr>
            <a:r>
              <a:rPr lang="en-US" sz="1600" b="1" dirty="0" err="1">
                <a:solidFill>
                  <a:schemeClr val="bg1"/>
                </a:solidFill>
              </a:rPr>
              <a:t>Verbindung</a:t>
            </a:r>
            <a:r>
              <a:rPr lang="en-US" sz="1600" b="1" dirty="0">
                <a:solidFill>
                  <a:schemeClr val="bg1"/>
                </a:solidFill>
              </a:rPr>
              <a:t> zum Alltag und zu zukünftigen Karrieren</a:t>
            </a:r>
          </a:p>
          <a:p>
            <a:pPr marL="355600" indent="-171450">
              <a:buFont typeface="Wingdings" panose="05000000000000000000" pitchFamily="2" charset="2"/>
              <a:buChar char="q"/>
            </a:pPr>
            <a:r>
              <a:rPr lang="en-US" dirty="0">
                <a:solidFill>
                  <a:schemeClr val="bg1"/>
                </a:solidFill>
              </a:rPr>
              <a:t>Zeigen Sie, wie KI alltägliche Tools beeinflusst (z. B. TikTok-Algorithmen, Sprachassistenten, automatische Übersetzung).</a:t>
            </a:r>
          </a:p>
          <a:p>
            <a:pPr marL="355600" indent="-171450">
              <a:buFont typeface="Wingdings" panose="05000000000000000000" pitchFamily="2" charset="2"/>
              <a:buChar char="q"/>
            </a:pPr>
            <a:r>
              <a:rPr lang="en-US" dirty="0">
                <a:solidFill>
                  <a:schemeClr val="bg1"/>
                </a:solidFill>
              </a:rPr>
              <a:t>Untersuchen Sie ethische Rollen in der KI-Entwicklung (KI-Politikberater, ethischer UX-Designer usw.).</a:t>
            </a:r>
          </a:p>
          <a:p>
            <a:pPr marL="355600" indent="-171450">
              <a:buFont typeface="Wingdings" panose="05000000000000000000" pitchFamily="2" charset="2"/>
              <a:buChar char="q"/>
            </a:pPr>
            <a:r>
              <a:rPr lang="en-US" dirty="0">
                <a:solidFill>
                  <a:schemeClr val="bg1"/>
                </a:solidFill>
              </a:rPr>
              <a:t>Fordern Sie die Schüler auf, ethische Risiken in den von ihnen verwendeten Apps oder KI-Tools zu identifizieren.</a:t>
            </a:r>
          </a:p>
          <a:p>
            <a:pPr marL="355600" indent="-171450">
              <a:buFont typeface="Wingdings" panose="05000000000000000000" pitchFamily="2" charset="2"/>
              <a:buChar char="q"/>
            </a:pPr>
            <a:r>
              <a:rPr lang="en-US" dirty="0">
                <a:solidFill>
                  <a:schemeClr val="bg1"/>
                </a:solidFill>
              </a:rPr>
              <a:t>Fördern Sie Neugier: „Welche Probleme würden Sie mit ethischer KI lösen?“</a:t>
            </a:r>
          </a:p>
          <a:p>
            <a:pPr>
              <a:buNone/>
            </a:pPr>
            <a:r>
              <a:rPr lang="en-US" sz="1600" b="1" dirty="0" err="1">
                <a:solidFill>
                  <a:schemeClr val="bg1"/>
                </a:solidFill>
              </a:rPr>
              <a:t>Bewerten</a:t>
            </a:r>
            <a:r>
              <a:rPr lang="en-US" sz="1600" b="1" dirty="0">
                <a:solidFill>
                  <a:schemeClr val="bg1"/>
                </a:solidFill>
              </a:rPr>
              <a:t> und reflektieren</a:t>
            </a:r>
          </a:p>
          <a:p>
            <a:pPr marL="355600" indent="-171450">
              <a:buFont typeface="Wingdings" panose="05000000000000000000" pitchFamily="2" charset="2"/>
              <a:buChar char="q"/>
            </a:pPr>
            <a:r>
              <a:rPr lang="en-US" dirty="0">
                <a:solidFill>
                  <a:schemeClr val="bg1"/>
                </a:solidFill>
              </a:rPr>
              <a:t>Verwenden Sie kurze Feedback-Formulare oder Reflexionsübungen.</a:t>
            </a:r>
          </a:p>
          <a:p>
            <a:pPr marL="355600" indent="-171450">
              <a:buFont typeface="Wingdings" panose="05000000000000000000" pitchFamily="2" charset="2"/>
              <a:buChar char="q"/>
            </a:pPr>
            <a:r>
              <a:rPr lang="en-US" dirty="0">
                <a:solidFill>
                  <a:schemeClr val="bg1"/>
                </a:solidFill>
              </a:rPr>
              <a:t>Fragen Sie: „Was war das Überraschendste, was Sie gelernt haben?“</a:t>
            </a:r>
          </a:p>
          <a:p>
            <a:pPr marL="355600" indent="-171450">
              <a:buFont typeface="Wingdings" panose="05000000000000000000" pitchFamily="2" charset="2"/>
              <a:buChar char="q"/>
            </a:pPr>
            <a:r>
              <a:rPr lang="en-US" dirty="0">
                <a:solidFill>
                  <a:schemeClr val="bg1"/>
                </a:solidFill>
              </a:rPr>
              <a:t>Passen Sie zukünftige Sitzungen anhand des Engagements, des Verständnisses und des Feedbacks an.</a:t>
            </a:r>
          </a:p>
        </p:txBody>
      </p:sp>
      <p:sp>
        <p:nvSpPr>
          <p:cNvPr id="12" name="Text Placeholder 11">
            <a:extLst>
              <a:ext uri="{FF2B5EF4-FFF2-40B4-BE49-F238E27FC236}">
                <a16:creationId xmlns:a16="http://schemas.microsoft.com/office/drawing/2014/main" id="{E2ED9F81-05D8-16C2-8072-5039FF049198}"/>
              </a:ext>
            </a:extLst>
          </p:cNvPr>
          <p:cNvSpPr>
            <a:spLocks noGrp="1"/>
          </p:cNvSpPr>
          <p:nvPr>
            <p:ph type="body" sz="quarter" idx="30"/>
          </p:nvPr>
        </p:nvSpPr>
        <p:spPr>
          <a:xfrm>
            <a:off x="437243" y="922642"/>
            <a:ext cx="6570888" cy="785535"/>
          </a:xfrm>
        </p:spPr>
        <p:txBody>
          <a:bodyPr/>
          <a:lstStyle/>
          <a:p>
            <a:r>
              <a:rPr lang="en-US" dirty="0" err="1"/>
              <a:t>Jugendliche</a:t>
            </a:r>
            <a:r>
              <a:rPr lang="en-US" dirty="0"/>
              <a:t> </a:t>
            </a:r>
            <a:r>
              <a:rPr lang="en-US" dirty="0" err="1"/>
              <a:t>durch</a:t>
            </a:r>
            <a:r>
              <a:rPr lang="en-US" dirty="0"/>
              <a:t> </a:t>
            </a:r>
            <a:r>
              <a:rPr lang="en-US" dirty="0" err="1"/>
              <a:t>Diskussionen</a:t>
            </a:r>
            <a:r>
              <a:rPr lang="en-US" dirty="0"/>
              <a:t> </a:t>
            </a:r>
            <a:br>
              <a:rPr lang="en-US" dirty="0"/>
            </a:br>
            <a:r>
              <a:rPr lang="en-US" dirty="0" err="1"/>
              <a:t>über</a:t>
            </a:r>
            <a:r>
              <a:rPr lang="en-US" dirty="0"/>
              <a:t> </a:t>
            </a:r>
            <a:r>
              <a:rPr lang="en-US" dirty="0" err="1"/>
              <a:t>ethische</a:t>
            </a:r>
            <a:r>
              <a:rPr lang="en-US" dirty="0"/>
              <a:t> KI </a:t>
            </a:r>
            <a:r>
              <a:rPr lang="en-US" dirty="0" err="1"/>
              <a:t>begleiten</a:t>
            </a:r>
            <a:endParaRPr lang="en-US" dirty="0"/>
          </a:p>
        </p:txBody>
      </p:sp>
      <p:sp>
        <p:nvSpPr>
          <p:cNvPr id="14" name="Text Placeholder 13">
            <a:extLst>
              <a:ext uri="{FF2B5EF4-FFF2-40B4-BE49-F238E27FC236}">
                <a16:creationId xmlns:a16="http://schemas.microsoft.com/office/drawing/2014/main" id="{D957DA6D-5DFD-04DB-9BF0-6A3DBCA91698}"/>
              </a:ext>
            </a:extLst>
          </p:cNvPr>
          <p:cNvSpPr>
            <a:spLocks noGrp="1"/>
          </p:cNvSpPr>
          <p:nvPr>
            <p:ph type="body" sz="quarter" idx="34"/>
          </p:nvPr>
        </p:nvSpPr>
        <p:spPr>
          <a:xfrm>
            <a:off x="502812" y="2317764"/>
            <a:ext cx="6526638" cy="785535"/>
          </a:xfrm>
        </p:spPr>
        <p:txBody>
          <a:bodyPr/>
          <a:lstStyle/>
          <a:p>
            <a:r>
              <a:rPr lang="en-US" b="1" dirty="0">
                <a:solidFill>
                  <a:srgbClr val="3C3795"/>
                </a:solidFill>
              </a:rPr>
              <a:t>Eine kurze, praktische Checkliste für Pädagogen und Jugendarbeiter</a:t>
            </a:r>
          </a:p>
        </p:txBody>
      </p:sp>
      <p:sp>
        <p:nvSpPr>
          <p:cNvPr id="7" name="Slide Number Placeholder 9">
            <a:extLst>
              <a:ext uri="{FF2B5EF4-FFF2-40B4-BE49-F238E27FC236}">
                <a16:creationId xmlns:a16="http://schemas.microsoft.com/office/drawing/2014/main" id="{C3E98823-2E49-6641-F30C-3FC9AD7CB198}"/>
              </a:ext>
            </a:extLst>
          </p:cNvPr>
          <p:cNvSpPr txBox="1">
            <a:spLocks/>
          </p:cNvSpPr>
          <p:nvPr/>
        </p:nvSpPr>
        <p:spPr>
          <a:xfrm>
            <a:off x="6895802" y="10132358"/>
            <a:ext cx="424721" cy="465137"/>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lumMod val="65000"/>
                    <a:lumOff val="35000"/>
                  </a:schemeClr>
                </a:solidFill>
                <a:latin typeface="Calibri" panose="020F0502020204030204" pitchFamily="34" charset="0"/>
                <a:ea typeface="Open Sans" panose="020B060603050402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B2079F2-58AF-ED44-82D7-E04B2F6FD686}" type="slidenum">
              <a:rPr lang="en-US" smtClean="0"/>
              <a:t>6</a:t>
            </a:fld>
            <a:endParaRPr lang="en-US" dirty="0"/>
          </a:p>
        </p:txBody>
      </p:sp>
      <p:sp>
        <p:nvSpPr>
          <p:cNvPr id="15" name="TextBox 14">
            <a:extLst>
              <a:ext uri="{FF2B5EF4-FFF2-40B4-BE49-F238E27FC236}">
                <a16:creationId xmlns:a16="http://schemas.microsoft.com/office/drawing/2014/main" id="{DC720B3C-1640-44B2-6295-3363ECA86A71}"/>
              </a:ext>
            </a:extLst>
          </p:cNvPr>
          <p:cNvSpPr txBox="1"/>
          <p:nvPr/>
        </p:nvSpPr>
        <p:spPr>
          <a:xfrm>
            <a:off x="23597" y="3005106"/>
            <a:ext cx="469803" cy="1200329"/>
          </a:xfrm>
          <a:prstGeom prst="rect">
            <a:avLst/>
          </a:prstGeom>
          <a:noFill/>
        </p:spPr>
        <p:txBody>
          <a:bodyPr wrap="square" rtlCol="0" anchor="ctr">
            <a:spAutoFit/>
          </a:bodyPr>
          <a:lstStyle/>
          <a:p>
            <a:pPr algn="ctr"/>
            <a:r>
              <a:rPr lang="en-GB" sz="7200" dirty="0">
                <a:solidFill>
                  <a:schemeClr val="bg1"/>
                </a:solidFill>
              </a:rPr>
              <a:t>1</a:t>
            </a:r>
          </a:p>
        </p:txBody>
      </p:sp>
      <p:sp>
        <p:nvSpPr>
          <p:cNvPr id="16" name="TextBox 15">
            <a:extLst>
              <a:ext uri="{FF2B5EF4-FFF2-40B4-BE49-F238E27FC236}">
                <a16:creationId xmlns:a16="http://schemas.microsoft.com/office/drawing/2014/main" id="{68F0DD2B-A5F0-B267-8765-DD700F35DA97}"/>
              </a:ext>
            </a:extLst>
          </p:cNvPr>
          <p:cNvSpPr txBox="1"/>
          <p:nvPr/>
        </p:nvSpPr>
        <p:spPr>
          <a:xfrm>
            <a:off x="23596" y="4371844"/>
            <a:ext cx="469803" cy="1200329"/>
          </a:xfrm>
          <a:prstGeom prst="rect">
            <a:avLst/>
          </a:prstGeom>
          <a:noFill/>
        </p:spPr>
        <p:txBody>
          <a:bodyPr wrap="square" rtlCol="0" anchor="ctr">
            <a:spAutoFit/>
          </a:bodyPr>
          <a:lstStyle/>
          <a:p>
            <a:pPr algn="ctr"/>
            <a:r>
              <a:rPr lang="en-GB" sz="7200" dirty="0">
                <a:solidFill>
                  <a:schemeClr val="bg1"/>
                </a:solidFill>
              </a:rPr>
              <a:t>2</a:t>
            </a:r>
          </a:p>
        </p:txBody>
      </p:sp>
      <p:sp>
        <p:nvSpPr>
          <p:cNvPr id="17" name="TextBox 16">
            <a:extLst>
              <a:ext uri="{FF2B5EF4-FFF2-40B4-BE49-F238E27FC236}">
                <a16:creationId xmlns:a16="http://schemas.microsoft.com/office/drawing/2014/main" id="{8A571A7B-3185-B440-7CF5-FCCC3C1D7590}"/>
              </a:ext>
            </a:extLst>
          </p:cNvPr>
          <p:cNvSpPr txBox="1"/>
          <p:nvPr/>
        </p:nvSpPr>
        <p:spPr>
          <a:xfrm>
            <a:off x="23595" y="5616881"/>
            <a:ext cx="469803" cy="1200329"/>
          </a:xfrm>
          <a:prstGeom prst="rect">
            <a:avLst/>
          </a:prstGeom>
          <a:noFill/>
        </p:spPr>
        <p:txBody>
          <a:bodyPr wrap="square" rtlCol="0" anchor="ctr">
            <a:spAutoFit/>
          </a:bodyPr>
          <a:lstStyle/>
          <a:p>
            <a:pPr algn="ctr"/>
            <a:r>
              <a:rPr lang="en-GB" sz="7200" dirty="0">
                <a:solidFill>
                  <a:schemeClr val="bg1"/>
                </a:solidFill>
              </a:rPr>
              <a:t>3</a:t>
            </a:r>
          </a:p>
        </p:txBody>
      </p:sp>
      <p:sp>
        <p:nvSpPr>
          <p:cNvPr id="18" name="TextBox 17">
            <a:extLst>
              <a:ext uri="{FF2B5EF4-FFF2-40B4-BE49-F238E27FC236}">
                <a16:creationId xmlns:a16="http://schemas.microsoft.com/office/drawing/2014/main" id="{B57403CA-6116-27AD-A9E9-F18F15906073}"/>
              </a:ext>
            </a:extLst>
          </p:cNvPr>
          <p:cNvSpPr txBox="1"/>
          <p:nvPr/>
        </p:nvSpPr>
        <p:spPr>
          <a:xfrm>
            <a:off x="23594" y="6706379"/>
            <a:ext cx="469803" cy="1200329"/>
          </a:xfrm>
          <a:prstGeom prst="rect">
            <a:avLst/>
          </a:prstGeom>
          <a:noFill/>
        </p:spPr>
        <p:txBody>
          <a:bodyPr wrap="square" rtlCol="0" anchor="ctr">
            <a:spAutoFit/>
          </a:bodyPr>
          <a:lstStyle/>
          <a:p>
            <a:pPr algn="ctr"/>
            <a:r>
              <a:rPr lang="en-GB" sz="7200" dirty="0">
                <a:solidFill>
                  <a:schemeClr val="bg1"/>
                </a:solidFill>
              </a:rPr>
              <a:t>4</a:t>
            </a:r>
          </a:p>
        </p:txBody>
      </p:sp>
      <p:sp>
        <p:nvSpPr>
          <p:cNvPr id="19" name="TextBox 18">
            <a:extLst>
              <a:ext uri="{FF2B5EF4-FFF2-40B4-BE49-F238E27FC236}">
                <a16:creationId xmlns:a16="http://schemas.microsoft.com/office/drawing/2014/main" id="{E77395C1-7C7D-4300-2FAD-05B6E614AA0E}"/>
              </a:ext>
            </a:extLst>
          </p:cNvPr>
          <p:cNvSpPr txBox="1"/>
          <p:nvPr/>
        </p:nvSpPr>
        <p:spPr>
          <a:xfrm>
            <a:off x="23593" y="7813190"/>
            <a:ext cx="469803" cy="1200329"/>
          </a:xfrm>
          <a:prstGeom prst="rect">
            <a:avLst/>
          </a:prstGeom>
          <a:noFill/>
        </p:spPr>
        <p:txBody>
          <a:bodyPr wrap="square" rtlCol="0" anchor="ctr">
            <a:spAutoFit/>
          </a:bodyPr>
          <a:lstStyle/>
          <a:p>
            <a:pPr algn="ctr"/>
            <a:r>
              <a:rPr lang="en-GB" sz="7200" dirty="0">
                <a:solidFill>
                  <a:schemeClr val="bg1"/>
                </a:solidFill>
              </a:rPr>
              <a:t>5</a:t>
            </a:r>
          </a:p>
        </p:txBody>
      </p:sp>
      <p:sp>
        <p:nvSpPr>
          <p:cNvPr id="20" name="TextBox 19">
            <a:extLst>
              <a:ext uri="{FF2B5EF4-FFF2-40B4-BE49-F238E27FC236}">
                <a16:creationId xmlns:a16="http://schemas.microsoft.com/office/drawing/2014/main" id="{AC5DFAB0-81C0-3D2A-A402-D45BBAC1FB63}"/>
              </a:ext>
            </a:extLst>
          </p:cNvPr>
          <p:cNvSpPr txBox="1"/>
          <p:nvPr/>
        </p:nvSpPr>
        <p:spPr>
          <a:xfrm>
            <a:off x="23592" y="8974060"/>
            <a:ext cx="469803" cy="1200329"/>
          </a:xfrm>
          <a:prstGeom prst="rect">
            <a:avLst/>
          </a:prstGeom>
          <a:noFill/>
        </p:spPr>
        <p:txBody>
          <a:bodyPr wrap="square" rtlCol="0" anchor="ctr">
            <a:spAutoFit/>
          </a:bodyPr>
          <a:lstStyle/>
          <a:p>
            <a:pPr algn="ctr"/>
            <a:r>
              <a:rPr lang="en-GB" sz="7200" dirty="0">
                <a:solidFill>
                  <a:schemeClr val="bg1"/>
                </a:solidFill>
              </a:rPr>
              <a:t>6</a:t>
            </a:r>
          </a:p>
        </p:txBody>
      </p:sp>
    </p:spTree>
    <p:extLst>
      <p:ext uri="{BB962C8B-B14F-4D97-AF65-F5344CB8AC3E}">
        <p14:creationId xmlns:p14="http://schemas.microsoft.com/office/powerpoint/2010/main" val="2571072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26</Words>
  <Application>Microsoft Office PowerPoint</Application>
  <PresentationFormat>Benutzerdefiniert</PresentationFormat>
  <Paragraphs>130</Paragraphs>
  <Slides>6</Slides>
  <Notes>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6</vt:i4>
      </vt:variant>
    </vt:vector>
  </HeadingPairs>
  <TitlesOfParts>
    <vt:vector size="17" baseType="lpstr">
      <vt:lpstr>aktiv-grotesk</vt:lpstr>
      <vt:lpstr>Arial</vt:lpstr>
      <vt:lpstr>Calibri</vt:lpstr>
      <vt:lpstr>Century Schoolbook</vt:lpstr>
      <vt:lpstr>Montserrat</vt:lpstr>
      <vt:lpstr>Montserrat Light</vt:lpstr>
      <vt:lpstr>Poppins</vt:lpstr>
      <vt:lpstr>Wingdings</vt:lpstr>
      <vt:lpstr>Office Theme</vt:lpstr>
      <vt:lpstr>1_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AB49FB0CC5EB45FD2DC4A06838A05897</cp:keywords>
  <cp:lastModifiedBy>David Blunck</cp:lastModifiedBy>
  <cp:revision>587</cp:revision>
  <dcterms:created xsi:type="dcterms:W3CDTF">2020-10-14T13:32:04Z</dcterms:created>
  <dcterms:modified xsi:type="dcterms:W3CDTF">2025-08-26T12:53:04Z</dcterms:modified>
</cp:coreProperties>
</file>